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2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4.xml" ContentType="application/vnd.openxmlformats-officedocument.them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5.xml" ContentType="application/vnd.openxmlformats-officedocument.them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6.xml" ContentType="application/vnd.openxmlformats-officedocument.them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7.xml" ContentType="application/vnd.openxmlformats-officedocument.them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11" r:id="rId5"/>
    <p:sldMasterId id="2147484702" r:id="rId6"/>
    <p:sldMasterId id="2147484292" r:id="rId7"/>
    <p:sldMasterId id="2147484701" r:id="rId8"/>
    <p:sldMasterId id="2147484537" r:id="rId9"/>
    <p:sldMasterId id="2147484393" r:id="rId10"/>
    <p:sldMasterId id="2147484948" r:id="rId11"/>
  </p:sldMasterIdLst>
  <p:notesMasterIdLst>
    <p:notesMasterId r:id="rId36"/>
  </p:notesMasterIdLst>
  <p:handoutMasterIdLst>
    <p:handoutMasterId r:id="rId37"/>
  </p:handoutMasterIdLst>
  <p:sldIdLst>
    <p:sldId id="487" r:id="rId12"/>
    <p:sldId id="479" r:id="rId13"/>
    <p:sldId id="481" r:id="rId14"/>
    <p:sldId id="482" r:id="rId15"/>
    <p:sldId id="483" r:id="rId16"/>
    <p:sldId id="488" r:id="rId17"/>
    <p:sldId id="485" r:id="rId18"/>
    <p:sldId id="486" r:id="rId19"/>
    <p:sldId id="489" r:id="rId20"/>
    <p:sldId id="490" r:id="rId21"/>
    <p:sldId id="492" r:id="rId22"/>
    <p:sldId id="491" r:id="rId23"/>
    <p:sldId id="493" r:id="rId24"/>
    <p:sldId id="494" r:id="rId25"/>
    <p:sldId id="495" r:id="rId26"/>
    <p:sldId id="496" r:id="rId27"/>
    <p:sldId id="497" r:id="rId28"/>
    <p:sldId id="498" r:id="rId29"/>
    <p:sldId id="500" r:id="rId30"/>
    <p:sldId id="499" r:id="rId31"/>
    <p:sldId id="501" r:id="rId32"/>
    <p:sldId id="502" r:id="rId33"/>
    <p:sldId id="464" r:id="rId34"/>
    <p:sldId id="450" r:id="rId35"/>
  </p:sldIdLst>
  <p:sldSz cx="9144000" cy="5143500" type="screen16x9"/>
  <p:notesSz cx="6858000" cy="9144000"/>
  <p:custDataLst>
    <p:tags r:id="rId38"/>
  </p:custDataLst>
  <p:defaultTextStyle>
    <a:defPPr>
      <a:defRPr lang="ru-RU"/>
    </a:defPPr>
    <a:lvl1pPr marL="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49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8986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479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7972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746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6957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645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5943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Николай Самойленко" initials="НС" lastIdx="1" clrIdx="0">
    <p:extLst>
      <p:ext uri="{19B8F6BF-5375-455C-9EA6-DF929625EA0E}">
        <p15:presenceInfo xmlns:p15="http://schemas.microsoft.com/office/powerpoint/2012/main" userId="fcfc93b243611c08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D4C"/>
    <a:srgbClr val="FFFFFF"/>
    <a:srgbClr val="008CFA"/>
    <a:srgbClr val="FA786E"/>
    <a:srgbClr val="E04E39"/>
    <a:srgbClr val="008C95"/>
    <a:srgbClr val="77E2C3"/>
    <a:srgbClr val="002B32"/>
    <a:srgbClr val="010000"/>
    <a:srgbClr val="BABB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070" autoAdjust="0"/>
    <p:restoredTop sz="91558" autoAdjust="0"/>
  </p:normalViewPr>
  <p:slideViewPr>
    <p:cSldViewPr snapToGrid="0">
      <p:cViewPr varScale="1">
        <p:scale>
          <a:sx n="144" d="100"/>
          <a:sy n="144" d="100"/>
        </p:scale>
        <p:origin x="102" y="13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" d="100"/>
        <a:sy n="2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0" d="100"/>
          <a:sy n="60" d="100"/>
        </p:scale>
        <p:origin x="3187" y="62"/>
      </p:cViewPr>
      <p:guideLst>
        <p:guide orient="horz" pos="2880"/>
        <p:guide pos="2160"/>
      </p:guideLst>
    </p:cSldViewPr>
  </p:notesViewPr>
  <p:gridSpacing cx="45005" cy="450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Master" Target="slideMasters/slideMaster7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handoutMaster" Target="handoutMasters/handoutMaster1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notesMaster" Target="notesMasters/notesMaster1.xml"/><Relationship Id="rId10" Type="http://schemas.openxmlformats.org/officeDocument/2006/relationships/slideMaster" Target="slideMasters/slideMaster6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ru-RU"/>
              <a:t>123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9EE45C-9804-4DED-9C2C-71DFC91B8A12}" type="datetime4">
              <a:rPr lang="ru-RU" smtClean="0"/>
              <a:t>30 сентября 2022 г.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EB5374-BFD1-4068-ABE3-5F919E1EE36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4827740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ru-RU"/>
              <a:t>123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7451A2-CE6A-4F8A-B00C-3550EFF57C20}" type="datetime4">
              <a:rPr lang="ru-RU" smtClean="0"/>
              <a:t>30 сентября 2022 г.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DC9E7D-DF78-4283-97F9-86BECCE66E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7162811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494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8986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479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7972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7464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6957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6450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5943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7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9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8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9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0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1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2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3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0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4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5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6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0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7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0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8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9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0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1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1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2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3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1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4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1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5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1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6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1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7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1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8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1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9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12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0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2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1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2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2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2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3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2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4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2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5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2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2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7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12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8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2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9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13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0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3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1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3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2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3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3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3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4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13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5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13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13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8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13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9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14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0.bin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14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2.bin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1.xml"/><Relationship Id="rId1" Type="http://schemas.openxmlformats.org/officeDocument/2006/relationships/vmlDrawing" Target="../drawings/vmlDrawing14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3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14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4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14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5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14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14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6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14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5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7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8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9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0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1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3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7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1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8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9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0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1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2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3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4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1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3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4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1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2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3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6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1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7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2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8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3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9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6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1.bin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3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9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4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9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5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9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36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207289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="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29" name="Текст 7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3" name="Группа 2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2" name="Прямоугольник 31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4" name="Прямая соединительная линия 33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0" name="Группа 7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1" name="Прямоугольник 8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85" name="Прямоугольник 8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86" name="Прямоугольник 8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87" name="Прямоугольник 8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Прямоугольник 8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TextBox 95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TextBox 9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628951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414818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7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75770"/>
            <a:ext cx="6768592" cy="1393373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40102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6" name="Полилиния 55"/>
          <p:cNvSpPr>
            <a:spLocks/>
          </p:cNvSpPr>
          <p:nvPr userDrawn="1"/>
        </p:nvSpPr>
        <p:spPr bwMode="auto">
          <a:xfrm>
            <a:off x="7430400" y="3429900"/>
            <a:ext cx="1713600" cy="17136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6" name="Группа 85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7" name="Прямоугольник 8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8" name="Прямая соединительная линия 8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Группа 88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779079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98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86111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6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694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127096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7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025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2496186" cy="684889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234370" y="439586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34371" y="1959617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234372" y="3471713"/>
            <a:ext cx="648000" cy="648000"/>
          </a:xfr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>
              <a:defRPr lang="ru-RU" sz="4400" dirty="0"/>
            </a:lvl1pPr>
          </a:lstStyle>
          <a:p>
            <a:pPr lvl="0" algn="ctr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4068741" y="201894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4068741" y="1721925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068741" y="3234021"/>
            <a:ext cx="4716483" cy="112338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997911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84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67053" y="3444258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67055" y="306142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787191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87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16416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67882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6841225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16416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678821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6841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84350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89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089583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825155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5560727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7296299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089583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2515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5560727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7296299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740735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592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1766654" y="1528614"/>
            <a:ext cx="1260000" cy="1338828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179297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591940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6004583" y="1528614"/>
            <a:ext cx="1260000" cy="1338828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7525225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1766654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179297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5919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6004583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752522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282120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79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9359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233171" y="1527175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0" y="3417713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3293591" y="3417713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6233171" y="3417713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9359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23317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29359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623317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9044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82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40416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2682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6913225" y="1520917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358775" y="3417713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2540416" y="3417713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4041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2682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6913226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877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254041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4726821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472682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6913225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691322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8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881899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96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089583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825155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5549911" y="1520917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7296299" y="1520917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354012" y="3417713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089583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2515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5549911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7296299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2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2089583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2089583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3825155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382515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8</a:t>
            </a:r>
            <a:endParaRPr lang="ru-RU" dirty="0"/>
          </a:p>
        </p:txBody>
      </p:sp>
      <p:sp>
        <p:nvSpPr>
          <p:cNvPr id="45" name="Текст 8"/>
          <p:cNvSpPr>
            <a:spLocks noGrp="1"/>
          </p:cNvSpPr>
          <p:nvPr>
            <p:ph type="body" sz="quarter" idx="72"/>
          </p:nvPr>
        </p:nvSpPr>
        <p:spPr>
          <a:xfrm>
            <a:off x="5549911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55499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9</a:t>
            </a:r>
            <a:endParaRPr lang="ru-RU" dirty="0"/>
          </a:p>
        </p:txBody>
      </p:sp>
      <p:sp>
        <p:nvSpPr>
          <p:cNvPr id="47" name="Текст 8"/>
          <p:cNvSpPr>
            <a:spLocks noGrp="1"/>
          </p:cNvSpPr>
          <p:nvPr>
            <p:ph type="body" sz="quarter" idx="74"/>
          </p:nvPr>
        </p:nvSpPr>
        <p:spPr>
          <a:xfrm>
            <a:off x="7296299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8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7296299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1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76852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767827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9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1381344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8426450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8426450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8426449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450324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5241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27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1131888"/>
            <a:ext cx="4572000" cy="3419476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4572000" y="1131888"/>
            <a:ext cx="4572000" cy="3419475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532945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271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98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572000" cy="455136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6323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16" name="Заголовок 1"/>
          <p:cNvSpPr txBox="1">
            <a:spLocks/>
          </p:cNvSpPr>
          <p:nvPr userDrawn="1"/>
        </p:nvSpPr>
        <p:spPr>
          <a:xfrm>
            <a:off x="4721989" y="339724"/>
            <a:ext cx="406323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/>
              <a:t>Образец заголовка</a:t>
            </a:r>
            <a:endParaRPr lang="ru-RU" kern="0" dirty="0"/>
          </a:p>
        </p:txBody>
      </p:sp>
    </p:spTree>
    <p:extLst>
      <p:ext uri="{BB962C8B-B14F-4D97-AF65-F5344CB8AC3E}">
        <p14:creationId xmlns:p14="http://schemas.microsoft.com/office/powerpoint/2010/main" val="3677482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8580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22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1131888"/>
            <a:ext cx="3048000" cy="341947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1131889"/>
            <a:ext cx="3048000" cy="341947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6096000" y="1131888"/>
            <a:ext cx="3048000" cy="3419476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9201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7081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00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048000" cy="455136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0"/>
            <a:ext cx="3048000" cy="4551363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6096000" y="-1"/>
            <a:ext cx="3048000" cy="4551365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250634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17" name="Заголовок 1"/>
          <p:cNvSpPr txBox="1">
            <a:spLocks/>
          </p:cNvSpPr>
          <p:nvPr userDrawn="1"/>
        </p:nvSpPr>
        <p:spPr>
          <a:xfrm>
            <a:off x="3273618" y="339724"/>
            <a:ext cx="250634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smtClean="0"/>
              <a:t>Образец заголовка</a:t>
            </a:r>
            <a:endParaRPr lang="ru-RU" kern="0" dirty="0"/>
          </a:p>
        </p:txBody>
      </p:sp>
      <p:sp>
        <p:nvSpPr>
          <p:cNvPr id="18" name="Заголовок 1"/>
          <p:cNvSpPr txBox="1">
            <a:spLocks/>
          </p:cNvSpPr>
          <p:nvPr userDrawn="1"/>
        </p:nvSpPr>
        <p:spPr>
          <a:xfrm>
            <a:off x="6193225" y="339724"/>
            <a:ext cx="2592000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>
                <a:solidFill>
                  <a:schemeClr val="bg1"/>
                </a:solidFill>
              </a:rPr>
              <a:t>Образец заголовка</a:t>
            </a:r>
            <a:endParaRPr lang="ru-RU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4943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9519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615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3048000" y="0"/>
            <a:ext cx="6096000" cy="152717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1527173"/>
            <a:ext cx="6096000" cy="1512889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3048000" y="3040063"/>
            <a:ext cx="6096000" cy="1511301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2496186" cy="684889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234370" y="439586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34371" y="1959617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234372" y="3471713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4068741" y="201894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4068741" y="1721925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068741" y="3234021"/>
            <a:ext cx="4716483" cy="1123384"/>
          </a:xfrm>
        </p:spPr>
        <p:txBody>
          <a:bodyPr wrap="square" lIns="0" tIns="0" rIns="0" bIns="0"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345643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8709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01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1144341"/>
            <a:ext cx="4572000" cy="3396756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58775" y="3417713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3644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8778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364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74498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7676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03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0"/>
            <a:ext cx="4572000" cy="4541097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18" name="Рисунок 9"/>
          <p:cNvSpPr>
            <a:spLocks noGrp="1"/>
          </p:cNvSpPr>
          <p:nvPr>
            <p:ph type="pic" sz="quarter" idx="60"/>
          </p:nvPr>
        </p:nvSpPr>
        <p:spPr>
          <a:xfrm>
            <a:off x="0" y="0"/>
            <a:ext cx="4572000" cy="4541097"/>
          </a:xfrm>
        </p:spPr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6323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58775" y="3417713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3644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8778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364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19" name="Заголовок 1"/>
          <p:cNvSpPr txBox="1">
            <a:spLocks/>
          </p:cNvSpPr>
          <p:nvPr userDrawn="1"/>
        </p:nvSpPr>
        <p:spPr>
          <a:xfrm>
            <a:off x="4736440" y="339724"/>
            <a:ext cx="406323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/>
              <a:t>Образец заголовка</a:t>
            </a:r>
            <a:endParaRPr lang="ru-RU" kern="0" dirty="0"/>
          </a:p>
        </p:txBody>
      </p:sp>
    </p:spTree>
    <p:extLst>
      <p:ext uri="{BB962C8B-B14F-4D97-AF65-F5344CB8AC3E}">
        <p14:creationId xmlns:p14="http://schemas.microsoft.com/office/powerpoint/2010/main" val="20639294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5951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805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0"/>
            <a:ext cx="4572000" cy="4541097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27" name="Рисунок 9"/>
          <p:cNvSpPr>
            <a:spLocks noGrp="1"/>
          </p:cNvSpPr>
          <p:nvPr>
            <p:ph type="pic" sz="quarter" idx="67"/>
          </p:nvPr>
        </p:nvSpPr>
        <p:spPr>
          <a:xfrm>
            <a:off x="0" y="0"/>
            <a:ext cx="4572000" cy="4541097"/>
          </a:xfrm>
        </p:spPr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53642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40416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56394" y="3427146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2542798" y="3420888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4731584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6913225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4041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6394" y="3044312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2542799" y="3043238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4731584" y="114952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6913225" y="114952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4726821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472682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6913225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691322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8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68"/>
          </p:nvPr>
        </p:nvSpPr>
        <p:spPr>
          <a:xfrm>
            <a:off x="4727575" y="339725"/>
            <a:ext cx="4057650" cy="684213"/>
          </a:xfrm>
        </p:spPr>
        <p:txBody>
          <a:bodyPr/>
          <a:lstStyle>
            <a:lvl1pPr>
              <a:defRPr sz="2000">
                <a:latin typeface="+mj-lt"/>
              </a:defRPr>
            </a:lvl1pPr>
            <a:lvl2pPr>
              <a:defRPr sz="1800" b="1">
                <a:solidFill>
                  <a:schemeClr val="tx2"/>
                </a:solidFill>
                <a:latin typeface="+mj-lt"/>
              </a:defRPr>
            </a:lvl2pPr>
            <a:lvl3pPr>
              <a:defRPr sz="1200" b="1">
                <a:solidFill>
                  <a:schemeClr val="tx2"/>
                </a:solidFill>
                <a:latin typeface="+mj-lt"/>
              </a:defRPr>
            </a:lvl3pPr>
            <a:lvl4pPr>
              <a:defRPr sz="1100" b="1">
                <a:solidFill>
                  <a:schemeClr val="tx2"/>
                </a:solidFill>
                <a:latin typeface="+mj-lt"/>
              </a:defRPr>
            </a:lvl4pPr>
            <a:lvl5pPr>
              <a:defRPr sz="1050" b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21594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5039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35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FB58CCCB-FC9E-47FF-AE1A-2B8103C4EC8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0987" y="120560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Рисунок 14">
            <a:extLst>
              <a:ext uri="{FF2B5EF4-FFF2-40B4-BE49-F238E27FC236}">
                <a16:creationId xmlns:a16="http://schemas.microsoft.com/office/drawing/2014/main" id="{AF7E94E8-5A2E-4B85-8346-35E006E4E6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0987" y="16878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7" name="Рисунок 14">
            <a:extLst>
              <a:ext uri="{FF2B5EF4-FFF2-40B4-BE49-F238E27FC236}">
                <a16:creationId xmlns:a16="http://schemas.microsoft.com/office/drawing/2014/main" id="{CAD2D448-B9A8-498E-BEC3-88F1259C47E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0987" y="217003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9" name="Рисунок 14">
            <a:extLst>
              <a:ext uri="{FF2B5EF4-FFF2-40B4-BE49-F238E27FC236}">
                <a16:creationId xmlns:a16="http://schemas.microsoft.com/office/drawing/2014/main" id="{DD146D87-19E3-4A72-9020-4C781871DC9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0987" y="265224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1" name="Рисунок 14">
            <a:extLst>
              <a:ext uri="{FF2B5EF4-FFF2-40B4-BE49-F238E27FC236}">
                <a16:creationId xmlns:a16="http://schemas.microsoft.com/office/drawing/2014/main" id="{F8E680ED-3238-4F87-B236-95D34EE91BFD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0987" y="313445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3" name="Рисунок 14">
            <a:extLst>
              <a:ext uri="{FF2B5EF4-FFF2-40B4-BE49-F238E27FC236}">
                <a16:creationId xmlns:a16="http://schemas.microsoft.com/office/drawing/2014/main" id="{80370F26-8302-4977-AEFC-CB03B7EF8574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0987" y="361666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5" name="Рисунок 14">
            <a:extLst>
              <a:ext uri="{FF2B5EF4-FFF2-40B4-BE49-F238E27FC236}">
                <a16:creationId xmlns:a16="http://schemas.microsoft.com/office/drawing/2014/main" id="{9820ABA4-917D-44CA-8A15-933CDF460744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0987" y="40988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7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5283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75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6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6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8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9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6531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13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314974"/>
            <a:ext cx="6768592" cy="1380754"/>
          </a:xfrm>
          <a:effectLst/>
        </p:spPr>
        <p:txBody>
          <a:bodyPr vert="horz" lIns="0" tIns="0" rIns="0" bIns="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</a:t>
            </a:r>
            <a:br>
              <a:rPr lang="ru-RU" dirty="0" smtClean="0"/>
            </a:br>
            <a:r>
              <a:rPr lang="ru-RU" dirty="0" smtClean="0"/>
              <a:t>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7412103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03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09489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06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84563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1936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10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4027137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2477911" y="1527175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2477911" y="3420994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47791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24779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07277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9204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513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4060208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1774497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194982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8"/>
          </p:nvPr>
        </p:nvSpPr>
        <p:spPr>
          <a:xfrm>
            <a:off x="1774497" y="3420994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50"/>
          </p:nvPr>
        </p:nvSpPr>
        <p:spPr>
          <a:xfrm>
            <a:off x="3194982" y="3417713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1774497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19498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1774497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194982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85357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40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90662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4975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38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9377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42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9407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03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1172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06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44507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08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05406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046924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39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26800" y="3425398"/>
            <a:ext cx="1717200" cy="171810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304800"/>
            <a:ext cx="6768592" cy="1349829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63899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rgbClr val="FFFFFF"/>
                </a:solidFill>
              </a:rPr>
              <a:t>Партнеры</a:t>
            </a:r>
            <a:r>
              <a:rPr lang="ru-RU" sz="1100" baseline="0" dirty="0" smtClean="0">
                <a:solidFill>
                  <a:srgbClr val="FFFFFF"/>
                </a:solidFill>
              </a:rPr>
              <a:t> для роста</a:t>
            </a:r>
            <a:endParaRPr lang="ru-RU" sz="1100" dirty="0">
              <a:solidFill>
                <a:srgbClr val="FFFFFF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5398"/>
            <a:ext cx="7422299" cy="171810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grpSp>
        <p:nvGrpSpPr>
          <p:cNvPr id="7" name="Группа 6"/>
          <p:cNvGrpSpPr>
            <a:grpSpLocks noChangeAspect="1"/>
          </p:cNvGrpSpPr>
          <p:nvPr userDrawn="1"/>
        </p:nvGrpSpPr>
        <p:grpSpPr>
          <a:xfrm>
            <a:off x="7426800" y="1712699"/>
            <a:ext cx="1717200" cy="1718102"/>
            <a:chOff x="7431300" y="1712699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104" name="Полилиния 103"/>
          <p:cNvSpPr>
            <a:spLocks noChangeAspect="1"/>
          </p:cNvSpPr>
          <p:nvPr userDrawn="1"/>
        </p:nvSpPr>
        <p:spPr bwMode="auto">
          <a:xfrm>
            <a:off x="7426804" y="0"/>
            <a:ext cx="1717196" cy="1718102"/>
          </a:xfrm>
          <a:custGeom>
            <a:avLst/>
            <a:gdLst>
              <a:gd name="connsiteX0" fmla="*/ 1712696 w 1712696"/>
              <a:gd name="connsiteY0" fmla="*/ 1664380 h 1713600"/>
              <a:gd name="connsiteX1" fmla="*/ 1712696 w 1712696"/>
              <a:gd name="connsiteY1" fmla="*/ 1713600 h 1713600"/>
              <a:gd name="connsiteX2" fmla="*/ 1666083 w 1712696"/>
              <a:gd name="connsiteY2" fmla="*/ 1713600 h 1713600"/>
              <a:gd name="connsiteX3" fmla="*/ 1712696 w 1712696"/>
              <a:gd name="connsiteY3" fmla="*/ 1277272 h 1713600"/>
              <a:gd name="connsiteX4" fmla="*/ 1712696 w 1712696"/>
              <a:gd name="connsiteY4" fmla="*/ 1476393 h 1713600"/>
              <a:gd name="connsiteX5" fmla="*/ 1488054 w 1712696"/>
              <a:gd name="connsiteY5" fmla="*/ 1713600 h 1713600"/>
              <a:gd name="connsiteX6" fmla="*/ 1299480 w 1712696"/>
              <a:gd name="connsiteY6" fmla="*/ 1713600 h 1713600"/>
              <a:gd name="connsiteX7" fmla="*/ 1712696 w 1712696"/>
              <a:gd name="connsiteY7" fmla="*/ 890163 h 1713600"/>
              <a:gd name="connsiteX8" fmla="*/ 1712696 w 1712696"/>
              <a:gd name="connsiteY8" fmla="*/ 1089285 h 1713600"/>
              <a:gd name="connsiteX9" fmla="*/ 1121451 w 1712696"/>
              <a:gd name="connsiteY9" fmla="*/ 1713600 h 1713600"/>
              <a:gd name="connsiteX10" fmla="*/ 932877 w 1712696"/>
              <a:gd name="connsiteY10" fmla="*/ 1713600 h 1713600"/>
              <a:gd name="connsiteX11" fmla="*/ 1712696 w 1712696"/>
              <a:gd name="connsiteY11" fmla="*/ 503055 h 1713600"/>
              <a:gd name="connsiteX12" fmla="*/ 1712696 w 1712696"/>
              <a:gd name="connsiteY12" fmla="*/ 702177 h 1713600"/>
              <a:gd name="connsiteX13" fmla="*/ 754848 w 1712696"/>
              <a:gd name="connsiteY13" fmla="*/ 1713600 h 1713600"/>
              <a:gd name="connsiteX14" fmla="*/ 566274 w 1712696"/>
              <a:gd name="connsiteY14" fmla="*/ 1713600 h 1713600"/>
              <a:gd name="connsiteX15" fmla="*/ 1712696 w 1712696"/>
              <a:gd name="connsiteY15" fmla="*/ 115947 h 1713600"/>
              <a:gd name="connsiteX16" fmla="*/ 1712696 w 1712696"/>
              <a:gd name="connsiteY16" fmla="*/ 315069 h 1713600"/>
              <a:gd name="connsiteX17" fmla="*/ 388245 w 1712696"/>
              <a:gd name="connsiteY17" fmla="*/ 1713600 h 1713600"/>
              <a:gd name="connsiteX18" fmla="*/ 199671 w 1712696"/>
              <a:gd name="connsiteY18" fmla="*/ 1713600 h 1713600"/>
              <a:gd name="connsiteX19" fmla="*/ 0 w 1712696"/>
              <a:gd name="connsiteY19" fmla="*/ 0 h 1713600"/>
              <a:gd name="connsiteX20" fmla="*/ 1712696 w 1712696"/>
              <a:gd name="connsiteY20" fmla="*/ 0 h 1713600"/>
              <a:gd name="connsiteX21" fmla="*/ 1712696 w 1712696"/>
              <a:gd name="connsiteY21" fmla="*/ 1801 h 1713600"/>
              <a:gd name="connsiteX22" fmla="*/ 1642767 w 1712696"/>
              <a:gd name="connsiteY22" fmla="*/ 1801 h 1713600"/>
              <a:gd name="connsiteX23" fmla="*/ 21642 w 1712696"/>
              <a:gd name="connsiteY23" fmla="*/ 1713600 h 1713600"/>
              <a:gd name="connsiteX24" fmla="*/ 0 w 1712696"/>
              <a:gd name="connsiteY24" fmla="*/ 1713600 h 1713600"/>
              <a:gd name="connsiteX25" fmla="*/ 0 w 1712696"/>
              <a:gd name="connsiteY25" fmla="*/ 1537331 h 1713600"/>
              <a:gd name="connsiteX26" fmla="*/ 1454193 w 1712696"/>
              <a:gd name="connsiteY26" fmla="*/ 1801 h 1713600"/>
              <a:gd name="connsiteX27" fmla="*/ 1276164 w 1712696"/>
              <a:gd name="connsiteY27" fmla="*/ 1801 h 1713600"/>
              <a:gd name="connsiteX28" fmla="*/ 0 w 1712696"/>
              <a:gd name="connsiteY28" fmla="*/ 1349344 h 1713600"/>
              <a:gd name="connsiteX29" fmla="*/ 0 w 1712696"/>
              <a:gd name="connsiteY29" fmla="*/ 1150223 h 1713600"/>
              <a:gd name="connsiteX30" fmla="*/ 1087590 w 1712696"/>
              <a:gd name="connsiteY30" fmla="*/ 1801 h 1713600"/>
              <a:gd name="connsiteX31" fmla="*/ 909561 w 1712696"/>
              <a:gd name="connsiteY31" fmla="*/ 1801 h 1713600"/>
              <a:gd name="connsiteX32" fmla="*/ 0 w 1712696"/>
              <a:gd name="connsiteY32" fmla="*/ 962236 h 1713600"/>
              <a:gd name="connsiteX33" fmla="*/ 0 w 1712696"/>
              <a:gd name="connsiteY33" fmla="*/ 763115 h 1713600"/>
              <a:gd name="connsiteX34" fmla="*/ 720987 w 1712696"/>
              <a:gd name="connsiteY34" fmla="*/ 1801 h 1713600"/>
              <a:gd name="connsiteX35" fmla="*/ 542958 w 1712696"/>
              <a:gd name="connsiteY35" fmla="*/ 1801 h 1713600"/>
              <a:gd name="connsiteX36" fmla="*/ 0 w 1712696"/>
              <a:gd name="connsiteY36" fmla="*/ 575128 h 1713600"/>
              <a:gd name="connsiteX37" fmla="*/ 0 w 1712696"/>
              <a:gd name="connsiteY37" fmla="*/ 376007 h 1713600"/>
              <a:gd name="connsiteX38" fmla="*/ 354384 w 1712696"/>
              <a:gd name="connsiteY38" fmla="*/ 1801 h 1713600"/>
              <a:gd name="connsiteX39" fmla="*/ 176355 w 1712696"/>
              <a:gd name="connsiteY39" fmla="*/ 1801 h 1713600"/>
              <a:gd name="connsiteX40" fmla="*/ 0 w 1712696"/>
              <a:gd name="connsiteY40" fmla="*/ 188020 h 171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1712696" h="1713600">
                <a:moveTo>
                  <a:pt x="1712696" y="1664380"/>
                </a:moveTo>
                <a:lnTo>
                  <a:pt x="1712696" y="1713600"/>
                </a:lnTo>
                <a:lnTo>
                  <a:pt x="1666083" y="1713600"/>
                </a:lnTo>
                <a:close/>
                <a:moveTo>
                  <a:pt x="1712696" y="1277272"/>
                </a:moveTo>
                <a:lnTo>
                  <a:pt x="1712696" y="1476393"/>
                </a:lnTo>
                <a:lnTo>
                  <a:pt x="1488054" y="1713600"/>
                </a:lnTo>
                <a:lnTo>
                  <a:pt x="1299480" y="1713600"/>
                </a:lnTo>
                <a:close/>
                <a:moveTo>
                  <a:pt x="1712696" y="890163"/>
                </a:moveTo>
                <a:lnTo>
                  <a:pt x="1712696" y="1089285"/>
                </a:lnTo>
                <a:lnTo>
                  <a:pt x="1121451" y="1713600"/>
                </a:lnTo>
                <a:lnTo>
                  <a:pt x="932877" y="1713600"/>
                </a:lnTo>
                <a:close/>
                <a:moveTo>
                  <a:pt x="1712696" y="503055"/>
                </a:moveTo>
                <a:lnTo>
                  <a:pt x="1712696" y="702177"/>
                </a:lnTo>
                <a:lnTo>
                  <a:pt x="754848" y="1713600"/>
                </a:lnTo>
                <a:lnTo>
                  <a:pt x="566274" y="1713600"/>
                </a:lnTo>
                <a:close/>
                <a:moveTo>
                  <a:pt x="1712696" y="115947"/>
                </a:moveTo>
                <a:lnTo>
                  <a:pt x="1712696" y="315069"/>
                </a:lnTo>
                <a:lnTo>
                  <a:pt x="388245" y="1713600"/>
                </a:lnTo>
                <a:lnTo>
                  <a:pt x="199671" y="1713600"/>
                </a:lnTo>
                <a:close/>
                <a:moveTo>
                  <a:pt x="0" y="0"/>
                </a:moveTo>
                <a:lnTo>
                  <a:pt x="1712696" y="0"/>
                </a:lnTo>
                <a:lnTo>
                  <a:pt x="1712696" y="1801"/>
                </a:lnTo>
                <a:lnTo>
                  <a:pt x="1642767" y="1801"/>
                </a:lnTo>
                <a:lnTo>
                  <a:pt x="21642" y="1713600"/>
                </a:lnTo>
                <a:lnTo>
                  <a:pt x="0" y="1713600"/>
                </a:lnTo>
                <a:lnTo>
                  <a:pt x="0" y="1537331"/>
                </a:lnTo>
                <a:lnTo>
                  <a:pt x="1454193" y="1801"/>
                </a:lnTo>
                <a:lnTo>
                  <a:pt x="1276164" y="1801"/>
                </a:lnTo>
                <a:lnTo>
                  <a:pt x="0" y="1349344"/>
                </a:lnTo>
                <a:lnTo>
                  <a:pt x="0" y="1150223"/>
                </a:lnTo>
                <a:lnTo>
                  <a:pt x="1087590" y="1801"/>
                </a:lnTo>
                <a:lnTo>
                  <a:pt x="909561" y="1801"/>
                </a:lnTo>
                <a:lnTo>
                  <a:pt x="0" y="962236"/>
                </a:lnTo>
                <a:lnTo>
                  <a:pt x="0" y="763115"/>
                </a:lnTo>
                <a:lnTo>
                  <a:pt x="720987" y="1801"/>
                </a:lnTo>
                <a:lnTo>
                  <a:pt x="542958" y="1801"/>
                </a:lnTo>
                <a:lnTo>
                  <a:pt x="0" y="575128"/>
                </a:lnTo>
                <a:lnTo>
                  <a:pt x="0" y="376007"/>
                </a:lnTo>
                <a:lnTo>
                  <a:pt x="354384" y="1801"/>
                </a:lnTo>
                <a:lnTo>
                  <a:pt x="176355" y="1801"/>
                </a:lnTo>
                <a:lnTo>
                  <a:pt x="0" y="188020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7" name="Группа 8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8" name="Прямоугольник 8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9" name="Прямая соединительная линия 8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0" name="Группа 8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TextBox 106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91032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10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481324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13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61852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15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090001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н + преамбула + 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8362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49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1" y="0"/>
            <a:ext cx="3047999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38500" y="339724"/>
            <a:ext cx="5546725" cy="684214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8" name="Рисунок 14">
            <a:extLst>
              <a:ext uri="{FF2B5EF4-FFF2-40B4-BE49-F238E27FC236}">
                <a16:creationId xmlns:a16="http://schemas.microsoft.com/office/drawing/2014/main" id="{4B7DA86D-EE14-4915-A8B5-722C9CBBE67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238500" y="1185888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0" name="Рисунок 14">
            <a:extLst>
              <a:ext uri="{FF2B5EF4-FFF2-40B4-BE49-F238E27FC236}">
                <a16:creationId xmlns:a16="http://schemas.microsoft.com/office/drawing/2014/main" id="{8880097B-8F31-4EE5-BC21-B835E5694478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38500" y="167611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2" name="Рисунок 14">
            <a:extLst>
              <a:ext uri="{FF2B5EF4-FFF2-40B4-BE49-F238E27FC236}">
                <a16:creationId xmlns:a16="http://schemas.microsoft.com/office/drawing/2014/main" id="{E16E0BFD-89AD-4030-B243-57B7C43695D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38500" y="216634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4" name="Рисунок 14">
            <a:extLst>
              <a:ext uri="{FF2B5EF4-FFF2-40B4-BE49-F238E27FC236}">
                <a16:creationId xmlns:a16="http://schemas.microsoft.com/office/drawing/2014/main" id="{A4DAF9EC-0161-47E9-86C7-7216F4250C5B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38500" y="265657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6" name="Рисунок 14">
            <a:extLst>
              <a:ext uri="{FF2B5EF4-FFF2-40B4-BE49-F238E27FC236}">
                <a16:creationId xmlns:a16="http://schemas.microsoft.com/office/drawing/2014/main" id="{E2CA454F-F786-4F65-B99A-43B767CC4BF3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38500" y="314680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8" name="Рисунок 14">
            <a:extLst>
              <a:ext uri="{FF2B5EF4-FFF2-40B4-BE49-F238E27FC236}">
                <a16:creationId xmlns:a16="http://schemas.microsoft.com/office/drawing/2014/main" id="{D166CBFF-D38C-4D25-8578-052855591538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238500" y="363703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0" name="Рисунок 14">
            <a:extLst>
              <a:ext uri="{FF2B5EF4-FFF2-40B4-BE49-F238E27FC236}">
                <a16:creationId xmlns:a16="http://schemas.microsoft.com/office/drawing/2014/main" id="{1C5D21D0-A654-4F33-BE00-4AAAD3146301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238500" y="4127262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4"/>
          </p:nvPr>
        </p:nvSpPr>
        <p:spPr>
          <a:xfrm>
            <a:off x="3717925" y="1131888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6"/>
          <p:cNvSpPr>
            <a:spLocks noGrp="1"/>
          </p:cNvSpPr>
          <p:nvPr>
            <p:ph type="body" sz="quarter" idx="45"/>
          </p:nvPr>
        </p:nvSpPr>
        <p:spPr>
          <a:xfrm>
            <a:off x="3717925" y="1622117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6"/>
          <p:cNvSpPr>
            <a:spLocks noGrp="1"/>
          </p:cNvSpPr>
          <p:nvPr>
            <p:ph type="body" sz="quarter" idx="46"/>
          </p:nvPr>
        </p:nvSpPr>
        <p:spPr>
          <a:xfrm>
            <a:off x="3717925" y="2112346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6"/>
          <p:cNvSpPr>
            <a:spLocks noGrp="1"/>
          </p:cNvSpPr>
          <p:nvPr>
            <p:ph type="body" sz="quarter" idx="47"/>
          </p:nvPr>
        </p:nvSpPr>
        <p:spPr>
          <a:xfrm>
            <a:off x="3717925" y="2602575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6"/>
          <p:cNvSpPr>
            <a:spLocks noGrp="1"/>
          </p:cNvSpPr>
          <p:nvPr>
            <p:ph type="body" sz="quarter" idx="48"/>
          </p:nvPr>
        </p:nvSpPr>
        <p:spPr>
          <a:xfrm>
            <a:off x="3717925" y="3092804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6"/>
          <p:cNvSpPr>
            <a:spLocks noGrp="1"/>
          </p:cNvSpPr>
          <p:nvPr>
            <p:ph type="body" sz="quarter" idx="49"/>
          </p:nvPr>
        </p:nvSpPr>
        <p:spPr>
          <a:xfrm>
            <a:off x="3717925" y="3583033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6"/>
          <p:cNvSpPr>
            <a:spLocks noGrp="1"/>
          </p:cNvSpPr>
          <p:nvPr>
            <p:ph type="body" sz="quarter" idx="50"/>
          </p:nvPr>
        </p:nvSpPr>
        <p:spPr>
          <a:xfrm>
            <a:off x="3717925" y="4073262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51"/>
          </p:nvPr>
        </p:nvSpPr>
        <p:spPr>
          <a:xfrm>
            <a:off x="358775" y="339725"/>
            <a:ext cx="2513965" cy="4211638"/>
          </a:xfrm>
        </p:spPr>
        <p:txBody>
          <a:bodyPr vert="horz" lIns="0" tIns="0" rIns="0" bIns="0" rtlCol="0">
            <a:no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504609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9833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45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84220" y="339724"/>
            <a:ext cx="5501005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1" y="0"/>
            <a:ext cx="3047999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0F330F95-7EBC-4271-9C49-F0553ABB45B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284220" y="121461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17C8AFFB-91D7-48BE-BA4C-A402F77F8535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84220" y="169558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9417A9CF-5B7D-40E0-890E-E0C892B0DBA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84220" y="217654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5C52364B-C15A-4133-B102-541B5C18DD4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84220" y="265751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85866053-C0C3-4840-A70B-ADE6462FD4E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84220" y="31384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BB1F9AA0-0565-4D7A-ADAF-E349DF55D060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284220" y="361944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7C98835F-EA09-4ED1-B396-8DC0E5340E8F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284220" y="410041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3"/>
          </p:nvPr>
        </p:nvSpPr>
        <p:spPr>
          <a:xfrm>
            <a:off x="3843338" y="1131888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4"/>
          </p:nvPr>
        </p:nvSpPr>
        <p:spPr>
          <a:xfrm>
            <a:off x="3843338" y="1612107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5"/>
          </p:nvPr>
        </p:nvSpPr>
        <p:spPr>
          <a:xfrm>
            <a:off x="3843338" y="2092326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6"/>
          </p:nvPr>
        </p:nvSpPr>
        <p:spPr>
          <a:xfrm>
            <a:off x="3843338" y="2572545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7"/>
          </p:nvPr>
        </p:nvSpPr>
        <p:spPr>
          <a:xfrm>
            <a:off x="3843338" y="3052764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8"/>
          </p:nvPr>
        </p:nvSpPr>
        <p:spPr>
          <a:xfrm>
            <a:off x="3843338" y="3532983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49"/>
          </p:nvPr>
        </p:nvSpPr>
        <p:spPr>
          <a:xfrm>
            <a:off x="3843338" y="4017679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6816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фото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337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408" y="339724"/>
            <a:ext cx="5546092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58775" y="1131888"/>
            <a:ext cx="5546970" cy="3419475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767667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фото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7817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852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408" y="339724"/>
            <a:ext cx="3999867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9620" y="0"/>
            <a:ext cx="456438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58775" y="1131888"/>
            <a:ext cx="4000500" cy="3419475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02480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текст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439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89300" y="339724"/>
            <a:ext cx="5495925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288430" y="1131888"/>
            <a:ext cx="5496795" cy="34194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96703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текст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5600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47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85358" y="339724"/>
            <a:ext cx="3999867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56438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4784725" y="1131888"/>
            <a:ext cx="4000500" cy="34194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98473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аблица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884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7" name="Таблица 6"/>
          <p:cNvSpPr>
            <a:spLocks noGrp="1"/>
          </p:cNvSpPr>
          <p:nvPr>
            <p:ph type="tbl" sz="quarter" idx="13"/>
          </p:nvPr>
        </p:nvSpPr>
        <p:spPr>
          <a:xfrm>
            <a:off x="358774" y="1638299"/>
            <a:ext cx="8426451" cy="29130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361950" y="1131888"/>
            <a:ext cx="8423275" cy="43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Заголовок </a:t>
            </a:r>
            <a:br>
              <a:rPr lang="ru-RU" dirty="0" smtClean="0"/>
            </a:br>
            <a:r>
              <a:rPr lang="ru-RU" dirty="0" smtClean="0"/>
              <a:t>таблицы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39505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15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6768592" cy="1364369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Место (город)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Месяц Год</a:t>
            </a:r>
            <a:endParaRPr lang="ru-RU" dirty="0"/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990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342990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5716800" y="342990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04854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аблица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782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7" name="Таблица 6"/>
          <p:cNvSpPr>
            <a:spLocks noGrp="1"/>
          </p:cNvSpPr>
          <p:nvPr>
            <p:ph type="tbl" sz="quarter" idx="13"/>
          </p:nvPr>
        </p:nvSpPr>
        <p:spPr>
          <a:xfrm>
            <a:off x="358775" y="1587500"/>
            <a:ext cx="4149725" cy="29257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9" name="Таблица 8"/>
          <p:cNvSpPr>
            <a:spLocks noGrp="1"/>
          </p:cNvSpPr>
          <p:nvPr>
            <p:ph type="tbl" sz="quarter" idx="14"/>
          </p:nvPr>
        </p:nvSpPr>
        <p:spPr>
          <a:xfrm>
            <a:off x="4635500" y="1587500"/>
            <a:ext cx="4149725" cy="2925763"/>
          </a:xfrm>
        </p:spPr>
        <p:txBody>
          <a:bodyPr/>
          <a:lstStyle/>
          <a:p>
            <a:endParaRPr lang="ru-RU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131888"/>
            <a:ext cx="4162425" cy="396000"/>
          </a:xfrm>
        </p:spPr>
        <p:txBody>
          <a:bodyPr/>
          <a:lstStyle>
            <a:lvl2pPr>
              <a:defRPr/>
            </a:lvl2pPr>
          </a:lstStyle>
          <a:p>
            <a:pPr lvl="1"/>
            <a:r>
              <a:rPr lang="ru-RU" dirty="0" smtClean="0"/>
              <a:t>Заголовок таблицы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35500" y="1131888"/>
            <a:ext cx="4162425" cy="396000"/>
          </a:xfrm>
        </p:spPr>
        <p:txBody>
          <a:bodyPr vert="horz" lIns="0" tIns="0" rIns="0" bIns="0" rtlCol="0">
            <a:no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1"/>
            <a:r>
              <a:rPr lang="ru-RU" dirty="0" smtClean="0"/>
              <a:t>Заголовок таблицы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60396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аблица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541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7" name="Таблица 6"/>
          <p:cNvSpPr>
            <a:spLocks noGrp="1"/>
          </p:cNvSpPr>
          <p:nvPr>
            <p:ph type="tbl" sz="quarter" idx="13"/>
          </p:nvPr>
        </p:nvSpPr>
        <p:spPr>
          <a:xfrm>
            <a:off x="358775" y="1531936"/>
            <a:ext cx="4149725" cy="12620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9" name="Таблица 8"/>
          <p:cNvSpPr>
            <a:spLocks noGrp="1"/>
          </p:cNvSpPr>
          <p:nvPr>
            <p:ph type="tbl" sz="quarter" idx="14"/>
          </p:nvPr>
        </p:nvSpPr>
        <p:spPr>
          <a:xfrm>
            <a:off x="4635500" y="1531937"/>
            <a:ext cx="4149725" cy="1262063"/>
          </a:xfrm>
        </p:spPr>
        <p:txBody>
          <a:bodyPr/>
          <a:lstStyle/>
          <a:p>
            <a:endParaRPr lang="ru-RU"/>
          </a:p>
        </p:txBody>
      </p:sp>
      <p:sp>
        <p:nvSpPr>
          <p:cNvPr id="10" name="Таблица 6"/>
          <p:cNvSpPr>
            <a:spLocks noGrp="1"/>
          </p:cNvSpPr>
          <p:nvPr>
            <p:ph type="tbl" sz="quarter" idx="15"/>
          </p:nvPr>
        </p:nvSpPr>
        <p:spPr>
          <a:xfrm>
            <a:off x="358775" y="3289298"/>
            <a:ext cx="4149725" cy="12620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11" name="Таблица 8"/>
          <p:cNvSpPr>
            <a:spLocks noGrp="1"/>
          </p:cNvSpPr>
          <p:nvPr>
            <p:ph type="tbl" sz="quarter" idx="16"/>
          </p:nvPr>
        </p:nvSpPr>
        <p:spPr>
          <a:xfrm>
            <a:off x="4635500" y="3289299"/>
            <a:ext cx="4149725" cy="1262063"/>
          </a:xfrm>
        </p:spPr>
        <p:txBody>
          <a:bodyPr/>
          <a:lstStyle/>
          <a:p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1131888"/>
            <a:ext cx="4149725" cy="354012"/>
          </a:xfrm>
        </p:spPr>
        <p:txBody>
          <a:bodyPr/>
          <a:lstStyle>
            <a:lvl2pPr>
              <a:defRPr/>
            </a:lvl2pPr>
          </a:lstStyle>
          <a:p>
            <a:pPr lvl="1"/>
            <a:r>
              <a:rPr lang="ru-RU" dirty="0" smtClean="0"/>
              <a:t>Заголовок таблицы</a:t>
            </a:r>
            <a:endParaRPr lang="ru-RU" dirty="0"/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8" hasCustomPrompt="1"/>
          </p:nvPr>
        </p:nvSpPr>
        <p:spPr>
          <a:xfrm>
            <a:off x="4635500" y="1131888"/>
            <a:ext cx="4149725" cy="354012"/>
          </a:xfrm>
        </p:spPr>
        <p:txBody>
          <a:bodyPr/>
          <a:lstStyle>
            <a:lvl2pPr>
              <a:defRPr/>
            </a:lvl2pPr>
          </a:lstStyle>
          <a:p>
            <a:pPr lvl="1"/>
            <a:r>
              <a:rPr lang="ru-RU" dirty="0" smtClean="0"/>
              <a:t>Заголовок таблицы</a:t>
            </a:r>
            <a:endParaRPr lang="ru-RU" dirty="0"/>
          </a:p>
        </p:txBody>
      </p:sp>
      <p:sp>
        <p:nvSpPr>
          <p:cNvPr id="14" name="Текст 11"/>
          <p:cNvSpPr>
            <a:spLocks noGrp="1"/>
          </p:cNvSpPr>
          <p:nvPr>
            <p:ph type="body" sz="quarter" idx="19" hasCustomPrompt="1"/>
          </p:nvPr>
        </p:nvSpPr>
        <p:spPr>
          <a:xfrm>
            <a:off x="358775" y="2902742"/>
            <a:ext cx="4149725" cy="354012"/>
          </a:xfrm>
        </p:spPr>
        <p:txBody>
          <a:bodyPr/>
          <a:lstStyle>
            <a:lvl2pPr>
              <a:defRPr/>
            </a:lvl2pPr>
          </a:lstStyle>
          <a:p>
            <a:pPr lvl="1"/>
            <a:r>
              <a:rPr lang="ru-RU" dirty="0" smtClean="0"/>
              <a:t>Заголовок таблицы</a:t>
            </a:r>
            <a:endParaRPr lang="ru-RU" dirty="0"/>
          </a:p>
        </p:txBody>
      </p:sp>
      <p:sp>
        <p:nvSpPr>
          <p:cNvPr id="15" name="Текст 11"/>
          <p:cNvSpPr>
            <a:spLocks noGrp="1"/>
          </p:cNvSpPr>
          <p:nvPr>
            <p:ph type="body" sz="quarter" idx="20" hasCustomPrompt="1"/>
          </p:nvPr>
        </p:nvSpPr>
        <p:spPr>
          <a:xfrm>
            <a:off x="4635500" y="2902742"/>
            <a:ext cx="4149725" cy="354012"/>
          </a:xfrm>
        </p:spPr>
        <p:txBody>
          <a:bodyPr/>
          <a:lstStyle>
            <a:lvl2pPr>
              <a:defRPr/>
            </a:lvl2pPr>
          </a:lstStyle>
          <a:p>
            <a:pPr lvl="1"/>
            <a:r>
              <a:rPr lang="ru-RU" dirty="0" smtClean="0"/>
              <a:t>Заголовок таблицы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29424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аблица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44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7" name="Таблица 6"/>
          <p:cNvSpPr>
            <a:spLocks noGrp="1"/>
          </p:cNvSpPr>
          <p:nvPr>
            <p:ph type="tbl" sz="quarter" idx="13"/>
          </p:nvPr>
        </p:nvSpPr>
        <p:spPr>
          <a:xfrm>
            <a:off x="358775" y="1531936"/>
            <a:ext cx="2689225" cy="3019427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9" name="Таблица 8"/>
          <p:cNvSpPr>
            <a:spLocks noGrp="1"/>
          </p:cNvSpPr>
          <p:nvPr>
            <p:ph type="tbl" sz="quarter" idx="14"/>
          </p:nvPr>
        </p:nvSpPr>
        <p:spPr>
          <a:xfrm>
            <a:off x="3227387" y="1531936"/>
            <a:ext cx="2689225" cy="3019427"/>
          </a:xfrm>
        </p:spPr>
        <p:txBody>
          <a:bodyPr/>
          <a:lstStyle/>
          <a:p>
            <a:endParaRPr lang="ru-RU"/>
          </a:p>
        </p:txBody>
      </p:sp>
      <p:sp>
        <p:nvSpPr>
          <p:cNvPr id="10" name="Таблица 6"/>
          <p:cNvSpPr>
            <a:spLocks noGrp="1"/>
          </p:cNvSpPr>
          <p:nvPr>
            <p:ph type="tbl" sz="quarter" idx="15"/>
          </p:nvPr>
        </p:nvSpPr>
        <p:spPr>
          <a:xfrm>
            <a:off x="6096000" y="1531936"/>
            <a:ext cx="2689225" cy="3019427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1131888"/>
            <a:ext cx="2689225" cy="354012"/>
          </a:xfrm>
        </p:spPr>
        <p:txBody>
          <a:bodyPr/>
          <a:lstStyle>
            <a:lvl2pPr>
              <a:defRPr/>
            </a:lvl2pPr>
          </a:lstStyle>
          <a:p>
            <a:pPr lvl="1"/>
            <a:r>
              <a:rPr lang="ru-RU" dirty="0" smtClean="0"/>
              <a:t>Заголовок </a:t>
            </a:r>
            <a:br>
              <a:rPr lang="ru-RU" dirty="0" smtClean="0"/>
            </a:br>
            <a:r>
              <a:rPr lang="ru-RU" dirty="0" smtClean="0"/>
              <a:t>таблицы</a:t>
            </a:r>
            <a:endParaRPr lang="ru-RU" dirty="0"/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8" hasCustomPrompt="1"/>
          </p:nvPr>
        </p:nvSpPr>
        <p:spPr>
          <a:xfrm>
            <a:off x="3227387" y="1131888"/>
            <a:ext cx="2689225" cy="354012"/>
          </a:xfrm>
        </p:spPr>
        <p:txBody>
          <a:bodyPr/>
          <a:lstStyle>
            <a:lvl2pPr>
              <a:defRPr/>
            </a:lvl2pPr>
          </a:lstStyle>
          <a:p>
            <a:pPr lvl="1"/>
            <a:r>
              <a:rPr lang="ru-RU" dirty="0" smtClean="0"/>
              <a:t>Заголовок </a:t>
            </a:r>
            <a:br>
              <a:rPr lang="ru-RU" dirty="0" smtClean="0"/>
            </a:br>
            <a:r>
              <a:rPr lang="ru-RU" dirty="0" smtClean="0"/>
              <a:t>таблицы</a:t>
            </a:r>
            <a:endParaRPr lang="ru-RU" dirty="0"/>
          </a:p>
        </p:txBody>
      </p:sp>
      <p:sp>
        <p:nvSpPr>
          <p:cNvPr id="14" name="Текст 11"/>
          <p:cNvSpPr>
            <a:spLocks noGrp="1"/>
          </p:cNvSpPr>
          <p:nvPr>
            <p:ph type="body" sz="quarter" idx="19" hasCustomPrompt="1"/>
          </p:nvPr>
        </p:nvSpPr>
        <p:spPr>
          <a:xfrm>
            <a:off x="6096000" y="1131888"/>
            <a:ext cx="2689225" cy="354012"/>
          </a:xfrm>
        </p:spPr>
        <p:txBody>
          <a:bodyPr/>
          <a:lstStyle>
            <a:lvl2pPr>
              <a:defRPr/>
            </a:lvl2pPr>
          </a:lstStyle>
          <a:p>
            <a:pPr lvl="1"/>
            <a:r>
              <a:rPr lang="ru-RU" dirty="0" smtClean="0"/>
              <a:t>Заголовок </a:t>
            </a:r>
            <a:br>
              <a:rPr lang="ru-RU" dirty="0" smtClean="0"/>
            </a:br>
            <a:r>
              <a:rPr lang="ru-RU" dirty="0" smtClean="0"/>
              <a:t>таблицы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312624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Диаграмма 6"/>
          <p:cNvSpPr>
            <a:spLocks noGrp="1"/>
          </p:cNvSpPr>
          <p:nvPr>
            <p:ph type="chart" sz="quarter" idx="13"/>
          </p:nvPr>
        </p:nvSpPr>
        <p:spPr>
          <a:xfrm>
            <a:off x="361950" y="1497625"/>
            <a:ext cx="4116388" cy="1462088"/>
          </a:xfrm>
        </p:spPr>
        <p:txBody>
          <a:bodyPr/>
          <a:lstStyle/>
          <a:p>
            <a:endParaRPr lang="ru-RU"/>
          </a:p>
        </p:txBody>
      </p:sp>
      <p:sp>
        <p:nvSpPr>
          <p:cNvPr id="9" name="Диаграмма 8"/>
          <p:cNvSpPr>
            <a:spLocks noGrp="1"/>
          </p:cNvSpPr>
          <p:nvPr>
            <p:ph type="chart" sz="quarter" idx="14"/>
          </p:nvPr>
        </p:nvSpPr>
        <p:spPr>
          <a:xfrm>
            <a:off x="4694238" y="1497625"/>
            <a:ext cx="4090987" cy="1476375"/>
          </a:xfrm>
        </p:spPr>
        <p:txBody>
          <a:bodyPr/>
          <a:lstStyle/>
          <a:p>
            <a:endParaRPr lang="ru-RU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5"/>
          </p:nvPr>
        </p:nvSpPr>
        <p:spPr>
          <a:xfrm>
            <a:off x="361950" y="3101679"/>
            <a:ext cx="4116388" cy="1449684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/>
          </p:nvPr>
        </p:nvSpPr>
        <p:spPr>
          <a:xfrm>
            <a:off x="4694238" y="3088962"/>
            <a:ext cx="4090987" cy="146240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/>
          </p:nvPr>
        </p:nvSpPr>
        <p:spPr>
          <a:xfrm>
            <a:off x="361950" y="1131888"/>
            <a:ext cx="4116388" cy="3079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7" name="Текст 16"/>
          <p:cNvSpPr>
            <a:spLocks noGrp="1"/>
          </p:cNvSpPr>
          <p:nvPr>
            <p:ph type="body" sz="quarter" idx="18"/>
          </p:nvPr>
        </p:nvSpPr>
        <p:spPr>
          <a:xfrm>
            <a:off x="4694238" y="1131888"/>
            <a:ext cx="4090987" cy="3079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84904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Диаграмма 6"/>
          <p:cNvSpPr>
            <a:spLocks noGrp="1"/>
          </p:cNvSpPr>
          <p:nvPr>
            <p:ph type="chart" sz="quarter" idx="13"/>
          </p:nvPr>
        </p:nvSpPr>
        <p:spPr>
          <a:xfrm>
            <a:off x="358775" y="1692275"/>
            <a:ext cx="5610225" cy="2859088"/>
          </a:xfrm>
        </p:spPr>
        <p:txBody>
          <a:bodyPr/>
          <a:lstStyle/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/>
          </p:nvPr>
        </p:nvSpPr>
        <p:spPr>
          <a:xfrm>
            <a:off x="358775" y="1131888"/>
            <a:ext cx="5616575" cy="4810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5"/>
          </p:nvPr>
        </p:nvSpPr>
        <p:spPr>
          <a:xfrm>
            <a:off x="6113463" y="1131888"/>
            <a:ext cx="2671762" cy="34194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74355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 СИБУР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2290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688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Прямоугольник 16"/>
          <p:cNvSpPr/>
          <p:nvPr/>
        </p:nvSpPr>
        <p:spPr bwMode="auto">
          <a:xfrm>
            <a:off x="0" y="0"/>
            <a:ext cx="7426800" cy="51435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58775" y="280251"/>
            <a:ext cx="6933411" cy="706347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z="5400" baseline="0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 СИБУРЕ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0" name="Прямоугольник 29"/>
          <p:cNvSpPr/>
          <p:nvPr/>
        </p:nvSpPr>
        <p:spPr bwMode="auto">
          <a:xfrm>
            <a:off x="7426798" y="1713150"/>
            <a:ext cx="1716299" cy="17172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22" name="Группа 21"/>
          <p:cNvGrpSpPr>
            <a:grpSpLocks noChangeAspect="1"/>
          </p:cNvGrpSpPr>
          <p:nvPr/>
        </p:nvGrpSpPr>
        <p:grpSpPr>
          <a:xfrm>
            <a:off x="7426798" y="0"/>
            <a:ext cx="1716299" cy="1717200"/>
            <a:chOff x="6573600" y="0"/>
            <a:chExt cx="2570400" cy="2571750"/>
          </a:xfrm>
        </p:grpSpPr>
        <p:sp>
          <p:nvSpPr>
            <p:cNvPr id="25" name="Прямоугольник 24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Полилиния 28"/>
            <p:cNvSpPr>
              <a:spLocks/>
            </p:cNvSpPr>
            <p:nvPr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2" name="Группа 31"/>
          <p:cNvGrpSpPr>
            <a:grpSpLocks noChangeAspect="1"/>
          </p:cNvGrpSpPr>
          <p:nvPr/>
        </p:nvGrpSpPr>
        <p:grpSpPr>
          <a:xfrm>
            <a:off x="7426798" y="3426300"/>
            <a:ext cx="1717202" cy="1717200"/>
            <a:chOff x="8230698" y="2542004"/>
            <a:chExt cx="1116001" cy="1116000"/>
          </a:xfrm>
        </p:grpSpPr>
        <p:sp>
          <p:nvSpPr>
            <p:cNvPr id="33" name="Прямоугольник 32"/>
            <p:cNvSpPr>
              <a:spLocks noChangeAspect="1"/>
            </p:cNvSpPr>
            <p:nvPr/>
          </p:nvSpPr>
          <p:spPr bwMode="auto">
            <a:xfrm>
              <a:off x="8230698" y="2542004"/>
              <a:ext cx="1116001" cy="111600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  <p:sp>
          <p:nvSpPr>
            <p:cNvPr id="34" name="Полилиния 33"/>
            <p:cNvSpPr>
              <a:spLocks noChangeAspect="1"/>
            </p:cNvSpPr>
            <p:nvPr/>
          </p:nvSpPr>
          <p:spPr bwMode="auto">
            <a:xfrm>
              <a:off x="8614859" y="2885944"/>
              <a:ext cx="410362" cy="409942"/>
            </a:xfrm>
            <a:custGeom>
              <a:avLst/>
              <a:gdLst>
                <a:gd name="connsiteX0" fmla="*/ 324001 w 410362"/>
                <a:gd name="connsiteY0" fmla="*/ 0 h 409942"/>
                <a:gd name="connsiteX1" fmla="*/ 389299 w 410362"/>
                <a:gd name="connsiteY1" fmla="*/ 6583 h 409942"/>
                <a:gd name="connsiteX2" fmla="*/ 400493 w 410362"/>
                <a:gd name="connsiteY2" fmla="*/ 10058 h 409942"/>
                <a:gd name="connsiteX3" fmla="*/ 403779 w 410362"/>
                <a:gd name="connsiteY3" fmla="*/ 20645 h 409942"/>
                <a:gd name="connsiteX4" fmla="*/ 410362 w 410362"/>
                <a:gd name="connsiteY4" fmla="*/ 85942 h 409942"/>
                <a:gd name="connsiteX5" fmla="*/ 86361 w 410362"/>
                <a:gd name="connsiteY5" fmla="*/ 409942 h 409942"/>
                <a:gd name="connsiteX6" fmla="*/ 21063 w 410362"/>
                <a:gd name="connsiteY6" fmla="*/ 403359 h 409942"/>
                <a:gd name="connsiteX7" fmla="*/ 9869 w 410362"/>
                <a:gd name="connsiteY7" fmla="*/ 399884 h 409942"/>
                <a:gd name="connsiteX8" fmla="*/ 6583 w 410362"/>
                <a:gd name="connsiteY8" fmla="*/ 389297 h 409942"/>
                <a:gd name="connsiteX9" fmla="*/ 0 w 410362"/>
                <a:gd name="connsiteY9" fmla="*/ 324000 h 409942"/>
                <a:gd name="connsiteX10" fmla="*/ 324001 w 410362"/>
                <a:gd name="connsiteY10" fmla="*/ 0 h 409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0362" h="409942">
                  <a:moveTo>
                    <a:pt x="324001" y="0"/>
                  </a:moveTo>
                  <a:cubicBezTo>
                    <a:pt x="346369" y="0"/>
                    <a:pt x="368207" y="2267"/>
                    <a:pt x="389299" y="6583"/>
                  </a:cubicBezTo>
                  <a:lnTo>
                    <a:pt x="400493" y="10058"/>
                  </a:lnTo>
                  <a:lnTo>
                    <a:pt x="403779" y="20645"/>
                  </a:lnTo>
                  <a:cubicBezTo>
                    <a:pt x="408095" y="41737"/>
                    <a:pt x="410362" y="63575"/>
                    <a:pt x="410362" y="85942"/>
                  </a:cubicBezTo>
                  <a:cubicBezTo>
                    <a:pt x="410362" y="264882"/>
                    <a:pt x="265302" y="409942"/>
                    <a:pt x="86361" y="409942"/>
                  </a:cubicBezTo>
                  <a:cubicBezTo>
                    <a:pt x="63993" y="409942"/>
                    <a:pt x="42155" y="407676"/>
                    <a:pt x="21063" y="403359"/>
                  </a:cubicBezTo>
                  <a:lnTo>
                    <a:pt x="9869" y="399884"/>
                  </a:lnTo>
                  <a:lnTo>
                    <a:pt x="6583" y="389297"/>
                  </a:lnTo>
                  <a:cubicBezTo>
                    <a:pt x="2267" y="368206"/>
                    <a:pt x="0" y="346368"/>
                    <a:pt x="0" y="324000"/>
                  </a:cubicBezTo>
                  <a:cubicBezTo>
                    <a:pt x="0" y="145060"/>
                    <a:pt x="145060" y="0"/>
                    <a:pt x="324001" y="0"/>
                  </a:cubicBez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  <p:sp>
          <p:nvSpPr>
            <p:cNvPr id="35" name="Полилиния 34"/>
            <p:cNvSpPr>
              <a:spLocks noChangeAspect="1"/>
            </p:cNvSpPr>
            <p:nvPr/>
          </p:nvSpPr>
          <p:spPr bwMode="auto">
            <a:xfrm>
              <a:off x="8377219" y="2647886"/>
              <a:ext cx="638133" cy="637942"/>
            </a:xfrm>
            <a:custGeom>
              <a:avLst/>
              <a:gdLst>
                <a:gd name="connsiteX0" fmla="*/ 324001 w 638133"/>
                <a:gd name="connsiteY0" fmla="*/ 0 h 637942"/>
                <a:gd name="connsiteX1" fmla="*/ 622540 w 638133"/>
                <a:gd name="connsiteY1" fmla="*/ 197885 h 637942"/>
                <a:gd name="connsiteX2" fmla="*/ 638133 w 638133"/>
                <a:gd name="connsiteY2" fmla="*/ 248116 h 637942"/>
                <a:gd name="connsiteX3" fmla="*/ 626939 w 638133"/>
                <a:gd name="connsiteY3" fmla="*/ 244641 h 637942"/>
                <a:gd name="connsiteX4" fmla="*/ 561641 w 638133"/>
                <a:gd name="connsiteY4" fmla="*/ 238058 h 637942"/>
                <a:gd name="connsiteX5" fmla="*/ 237640 w 638133"/>
                <a:gd name="connsiteY5" fmla="*/ 562058 h 637942"/>
                <a:gd name="connsiteX6" fmla="*/ 244223 w 638133"/>
                <a:gd name="connsiteY6" fmla="*/ 627355 h 637942"/>
                <a:gd name="connsiteX7" fmla="*/ 247509 w 638133"/>
                <a:gd name="connsiteY7" fmla="*/ 637942 h 637942"/>
                <a:gd name="connsiteX8" fmla="*/ 197885 w 638133"/>
                <a:gd name="connsiteY8" fmla="*/ 622538 h 637942"/>
                <a:gd name="connsiteX9" fmla="*/ 0 w 638133"/>
                <a:gd name="connsiteY9" fmla="*/ 324000 h 637942"/>
                <a:gd name="connsiteX10" fmla="*/ 324001 w 638133"/>
                <a:gd name="connsiteY10" fmla="*/ 0 h 637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8133" h="637942">
                  <a:moveTo>
                    <a:pt x="324001" y="0"/>
                  </a:moveTo>
                  <a:cubicBezTo>
                    <a:pt x="458207" y="0"/>
                    <a:pt x="573354" y="81596"/>
                    <a:pt x="622540" y="197885"/>
                  </a:cubicBezTo>
                  <a:lnTo>
                    <a:pt x="638133" y="248116"/>
                  </a:lnTo>
                  <a:lnTo>
                    <a:pt x="626939" y="244641"/>
                  </a:lnTo>
                  <a:cubicBezTo>
                    <a:pt x="605847" y="240325"/>
                    <a:pt x="584009" y="238058"/>
                    <a:pt x="561641" y="238058"/>
                  </a:cubicBezTo>
                  <a:cubicBezTo>
                    <a:pt x="382700" y="238058"/>
                    <a:pt x="237640" y="383118"/>
                    <a:pt x="237640" y="562058"/>
                  </a:cubicBezTo>
                  <a:cubicBezTo>
                    <a:pt x="237640" y="584426"/>
                    <a:pt x="239907" y="606264"/>
                    <a:pt x="244223" y="627355"/>
                  </a:cubicBezTo>
                  <a:lnTo>
                    <a:pt x="247509" y="637942"/>
                  </a:lnTo>
                  <a:lnTo>
                    <a:pt x="197885" y="622538"/>
                  </a:lnTo>
                  <a:cubicBezTo>
                    <a:pt x="81596" y="573353"/>
                    <a:pt x="0" y="458205"/>
                    <a:pt x="0" y="324000"/>
                  </a:cubicBezTo>
                  <a:cubicBezTo>
                    <a:pt x="0" y="145060"/>
                    <a:pt x="145060" y="0"/>
                    <a:pt x="324001" y="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  <p:sp>
          <p:nvSpPr>
            <p:cNvPr id="36" name="Полилиния 35"/>
            <p:cNvSpPr>
              <a:spLocks noChangeAspect="1"/>
            </p:cNvSpPr>
            <p:nvPr/>
          </p:nvSpPr>
          <p:spPr bwMode="auto">
            <a:xfrm>
              <a:off x="8624728" y="2896002"/>
              <a:ext cx="638133" cy="637942"/>
            </a:xfrm>
            <a:custGeom>
              <a:avLst/>
              <a:gdLst>
                <a:gd name="connsiteX0" fmla="*/ 390624 w 638133"/>
                <a:gd name="connsiteY0" fmla="*/ 0 h 637942"/>
                <a:gd name="connsiteX1" fmla="*/ 440248 w 638133"/>
                <a:gd name="connsiteY1" fmla="*/ 15404 h 637942"/>
                <a:gd name="connsiteX2" fmla="*/ 638133 w 638133"/>
                <a:gd name="connsiteY2" fmla="*/ 313942 h 637942"/>
                <a:gd name="connsiteX3" fmla="*/ 314132 w 638133"/>
                <a:gd name="connsiteY3" fmla="*/ 637942 h 637942"/>
                <a:gd name="connsiteX4" fmla="*/ 15593 w 638133"/>
                <a:gd name="connsiteY4" fmla="*/ 440057 h 637942"/>
                <a:gd name="connsiteX5" fmla="*/ 0 w 638133"/>
                <a:gd name="connsiteY5" fmla="*/ 389826 h 637942"/>
                <a:gd name="connsiteX6" fmla="*/ 11194 w 638133"/>
                <a:gd name="connsiteY6" fmla="*/ 393301 h 637942"/>
                <a:gd name="connsiteX7" fmla="*/ 76492 w 638133"/>
                <a:gd name="connsiteY7" fmla="*/ 399884 h 637942"/>
                <a:gd name="connsiteX8" fmla="*/ 400493 w 638133"/>
                <a:gd name="connsiteY8" fmla="*/ 75884 h 637942"/>
                <a:gd name="connsiteX9" fmla="*/ 393910 w 638133"/>
                <a:gd name="connsiteY9" fmla="*/ 10587 h 637942"/>
                <a:gd name="connsiteX10" fmla="*/ 390624 w 638133"/>
                <a:gd name="connsiteY10" fmla="*/ 0 h 637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8133" h="637942">
                  <a:moveTo>
                    <a:pt x="390624" y="0"/>
                  </a:moveTo>
                  <a:lnTo>
                    <a:pt x="440248" y="15404"/>
                  </a:lnTo>
                  <a:cubicBezTo>
                    <a:pt x="556537" y="64590"/>
                    <a:pt x="638133" y="179737"/>
                    <a:pt x="638133" y="313942"/>
                  </a:cubicBezTo>
                  <a:cubicBezTo>
                    <a:pt x="638133" y="492882"/>
                    <a:pt x="493073" y="637942"/>
                    <a:pt x="314132" y="637942"/>
                  </a:cubicBezTo>
                  <a:cubicBezTo>
                    <a:pt x="179926" y="637942"/>
                    <a:pt x="64779" y="556346"/>
                    <a:pt x="15593" y="440057"/>
                  </a:cubicBezTo>
                  <a:lnTo>
                    <a:pt x="0" y="389826"/>
                  </a:lnTo>
                  <a:lnTo>
                    <a:pt x="11194" y="393301"/>
                  </a:lnTo>
                  <a:cubicBezTo>
                    <a:pt x="32286" y="397618"/>
                    <a:pt x="54124" y="399884"/>
                    <a:pt x="76492" y="399884"/>
                  </a:cubicBezTo>
                  <a:cubicBezTo>
                    <a:pt x="255433" y="399884"/>
                    <a:pt x="400493" y="254824"/>
                    <a:pt x="400493" y="75884"/>
                  </a:cubicBezTo>
                  <a:cubicBezTo>
                    <a:pt x="400493" y="53517"/>
                    <a:pt x="398226" y="31679"/>
                    <a:pt x="393910" y="10587"/>
                  </a:cubicBezTo>
                  <a:lnTo>
                    <a:pt x="390624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607038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ммерческое пред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513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791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Прямоугольник 20"/>
          <p:cNvSpPr/>
          <p:nvPr/>
        </p:nvSpPr>
        <p:spPr bwMode="auto">
          <a:xfrm>
            <a:off x="0" y="0"/>
            <a:ext cx="7426800" cy="51435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58775" y="280251"/>
            <a:ext cx="6933411" cy="141269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z="5400" baseline="0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КОММЕРЧЕСКОЕ</a:t>
            </a:r>
            <a:br>
              <a:rPr lang="ru-RU" dirty="0" smtClean="0"/>
            </a:br>
            <a:r>
              <a:rPr lang="ru-RU" dirty="0" smtClean="0"/>
              <a:t>ПРЕДЛОЖЕНИЕ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17" name="Группа 16"/>
          <p:cNvGrpSpPr>
            <a:grpSpLocks noChangeAspect="1"/>
          </p:cNvGrpSpPr>
          <p:nvPr/>
        </p:nvGrpSpPr>
        <p:grpSpPr>
          <a:xfrm>
            <a:off x="7426800" y="0"/>
            <a:ext cx="1717200" cy="1718102"/>
            <a:chOff x="3425397" y="3425398"/>
            <a:chExt cx="1717200" cy="1718102"/>
          </a:xfrm>
        </p:grpSpPr>
        <p:sp>
          <p:nvSpPr>
            <p:cNvPr id="18" name="Прямоугольник 17"/>
            <p:cNvSpPr>
              <a:spLocks noChangeAspect="1"/>
            </p:cNvSpPr>
            <p:nvPr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Кольцо 18"/>
            <p:cNvSpPr/>
            <p:nvPr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Кольцо 19"/>
            <p:cNvSpPr/>
            <p:nvPr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Овал 22"/>
            <p:cNvSpPr/>
            <p:nvPr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4" name="Группа 23"/>
          <p:cNvGrpSpPr/>
          <p:nvPr/>
        </p:nvGrpSpPr>
        <p:grpSpPr>
          <a:xfrm>
            <a:off x="7426800" y="3425398"/>
            <a:ext cx="1717200" cy="1718102"/>
            <a:chOff x="7431300" y="1712699"/>
            <a:chExt cx="1717200" cy="1718102"/>
          </a:xfrm>
        </p:grpSpPr>
        <p:sp>
          <p:nvSpPr>
            <p:cNvPr id="26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7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8" name="Группа 27"/>
          <p:cNvGrpSpPr/>
          <p:nvPr/>
        </p:nvGrpSpPr>
        <p:grpSpPr>
          <a:xfrm>
            <a:off x="7426800" y="1718100"/>
            <a:ext cx="1716299" cy="1717200"/>
            <a:chOff x="7427701" y="1718100"/>
            <a:chExt cx="1716299" cy="1717200"/>
          </a:xfrm>
        </p:grpSpPr>
        <p:sp>
          <p:nvSpPr>
            <p:cNvPr id="30" name="Прямоугольник 29"/>
            <p:cNvSpPr/>
            <p:nvPr/>
          </p:nvSpPr>
          <p:spPr bwMode="auto">
            <a:xfrm>
              <a:off x="7427701" y="1718100"/>
              <a:ext cx="1716299" cy="17172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1" name="Полилиния 30"/>
            <p:cNvSpPr/>
            <p:nvPr/>
          </p:nvSpPr>
          <p:spPr bwMode="auto">
            <a:xfrm>
              <a:off x="7427701" y="1718100"/>
              <a:ext cx="1716299" cy="1717200"/>
            </a:xfrm>
            <a:custGeom>
              <a:avLst/>
              <a:gdLst>
                <a:gd name="connsiteX0" fmla="*/ 0 w 1716299"/>
                <a:gd name="connsiteY0" fmla="*/ 1313726 h 1717200"/>
                <a:gd name="connsiteX1" fmla="*/ 402843 w 1716299"/>
                <a:gd name="connsiteY1" fmla="*/ 1717200 h 1717200"/>
                <a:gd name="connsiteX2" fmla="*/ 0 w 1716299"/>
                <a:gd name="connsiteY2" fmla="*/ 1717200 h 1717200"/>
                <a:gd name="connsiteX3" fmla="*/ 0 w 1716299"/>
                <a:gd name="connsiteY3" fmla="*/ 550698 h 1717200"/>
                <a:gd name="connsiteX4" fmla="*/ 1164676 w 1716299"/>
                <a:gd name="connsiteY4" fmla="*/ 1717200 h 1717200"/>
                <a:gd name="connsiteX5" fmla="*/ 748795 w 1716299"/>
                <a:gd name="connsiteY5" fmla="*/ 1717200 h 1717200"/>
                <a:gd name="connsiteX6" fmla="*/ 0 w 1716299"/>
                <a:gd name="connsiteY6" fmla="*/ 966900 h 1717200"/>
                <a:gd name="connsiteX7" fmla="*/ 1311613 w 1716299"/>
                <a:gd name="connsiteY7" fmla="*/ 0 h 1717200"/>
                <a:gd name="connsiteX8" fmla="*/ 1716299 w 1716299"/>
                <a:gd name="connsiteY8" fmla="*/ 0 h 1717200"/>
                <a:gd name="connsiteX9" fmla="*/ 1716299 w 1716299"/>
                <a:gd name="connsiteY9" fmla="*/ 405500 h 1717200"/>
                <a:gd name="connsiteX10" fmla="*/ 559772 w 1716299"/>
                <a:gd name="connsiteY10" fmla="*/ 0 h 1717200"/>
                <a:gd name="connsiteX11" fmla="*/ 964903 w 1716299"/>
                <a:gd name="connsiteY11" fmla="*/ 0 h 1717200"/>
                <a:gd name="connsiteX12" fmla="*/ 1716299 w 1716299"/>
                <a:gd name="connsiteY12" fmla="*/ 752574 h 1717200"/>
                <a:gd name="connsiteX13" fmla="*/ 1716299 w 1716299"/>
                <a:gd name="connsiteY13" fmla="*/ 1158853 h 1717200"/>
                <a:gd name="connsiteX14" fmla="*/ 0 w 1716299"/>
                <a:gd name="connsiteY14" fmla="*/ 0 h 1717200"/>
                <a:gd name="connsiteX15" fmla="*/ 213062 w 1716299"/>
                <a:gd name="connsiteY15" fmla="*/ 0 h 1717200"/>
                <a:gd name="connsiteX16" fmla="*/ 1716299 w 1716299"/>
                <a:gd name="connsiteY16" fmla="*/ 1505594 h 1717200"/>
                <a:gd name="connsiteX17" fmla="*/ 1716299 w 1716299"/>
                <a:gd name="connsiteY17" fmla="*/ 1717200 h 1717200"/>
                <a:gd name="connsiteX18" fmla="*/ 1510628 w 1716299"/>
                <a:gd name="connsiteY18" fmla="*/ 1717200 h 1717200"/>
                <a:gd name="connsiteX19" fmla="*/ 0 w 1716299"/>
                <a:gd name="connsiteY19" fmla="*/ 203535 h 171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6299" h="1717200">
                  <a:moveTo>
                    <a:pt x="0" y="1313726"/>
                  </a:moveTo>
                  <a:lnTo>
                    <a:pt x="402843" y="1717200"/>
                  </a:lnTo>
                  <a:lnTo>
                    <a:pt x="0" y="1717200"/>
                  </a:lnTo>
                  <a:close/>
                  <a:moveTo>
                    <a:pt x="0" y="550698"/>
                  </a:moveTo>
                  <a:lnTo>
                    <a:pt x="1164676" y="1717200"/>
                  </a:lnTo>
                  <a:lnTo>
                    <a:pt x="748795" y="1717200"/>
                  </a:lnTo>
                  <a:lnTo>
                    <a:pt x="0" y="966900"/>
                  </a:lnTo>
                  <a:close/>
                  <a:moveTo>
                    <a:pt x="1311613" y="0"/>
                  </a:moveTo>
                  <a:lnTo>
                    <a:pt x="1716299" y="0"/>
                  </a:lnTo>
                  <a:lnTo>
                    <a:pt x="1716299" y="405500"/>
                  </a:lnTo>
                  <a:close/>
                  <a:moveTo>
                    <a:pt x="559772" y="0"/>
                  </a:moveTo>
                  <a:lnTo>
                    <a:pt x="964903" y="0"/>
                  </a:lnTo>
                  <a:lnTo>
                    <a:pt x="1716299" y="752574"/>
                  </a:lnTo>
                  <a:lnTo>
                    <a:pt x="1716299" y="1158853"/>
                  </a:lnTo>
                  <a:close/>
                  <a:moveTo>
                    <a:pt x="0" y="0"/>
                  </a:moveTo>
                  <a:lnTo>
                    <a:pt x="213062" y="0"/>
                  </a:lnTo>
                  <a:lnTo>
                    <a:pt x="1716299" y="1505594"/>
                  </a:lnTo>
                  <a:lnTo>
                    <a:pt x="1716299" y="1717200"/>
                  </a:lnTo>
                  <a:lnTo>
                    <a:pt x="1510628" y="1717200"/>
                  </a:lnTo>
                  <a:lnTo>
                    <a:pt x="0" y="20353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27191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ервисное пред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93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/>
        </p:nvSpPr>
        <p:spPr bwMode="auto">
          <a:xfrm>
            <a:off x="0" y="0"/>
            <a:ext cx="7426800" cy="51435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58775" y="280251"/>
            <a:ext cx="6933411" cy="1412694"/>
          </a:xfrm>
        </p:spPr>
        <p:txBody>
          <a:bodyPr vert="horz">
            <a:spAutoFit/>
          </a:bodyPr>
          <a:lstStyle>
            <a:lvl1pPr>
              <a:lnSpc>
                <a:spcPct val="85000"/>
              </a:lnSpc>
              <a:defRPr sz="5400" b="1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СЕРВИСНОЕ</a:t>
            </a:r>
            <a:br>
              <a:rPr lang="ru-RU" dirty="0" smtClean="0"/>
            </a:br>
            <a:r>
              <a:rPr lang="ru-RU" dirty="0" smtClean="0"/>
              <a:t>ПРЕДЛОЖЕНИЕ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3" name="Прямоугольник 12"/>
          <p:cNvSpPr/>
          <p:nvPr/>
        </p:nvSpPr>
        <p:spPr bwMode="auto">
          <a:xfrm>
            <a:off x="7426800" y="0"/>
            <a:ext cx="1716299" cy="17172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6" name="Ромб 5"/>
          <p:cNvSpPr/>
          <p:nvPr/>
        </p:nvSpPr>
        <p:spPr bwMode="auto">
          <a:xfrm>
            <a:off x="7426800" y="0"/>
            <a:ext cx="1717200" cy="1717200"/>
          </a:xfrm>
          <a:prstGeom prst="diamond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Овал 13"/>
          <p:cNvSpPr/>
          <p:nvPr/>
        </p:nvSpPr>
        <p:spPr bwMode="auto">
          <a:xfrm>
            <a:off x="8009825" y="583025"/>
            <a:ext cx="551150" cy="55115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9" name="Прямоугольник 28"/>
          <p:cNvSpPr/>
          <p:nvPr/>
        </p:nvSpPr>
        <p:spPr bwMode="auto">
          <a:xfrm>
            <a:off x="7426800" y="3426300"/>
            <a:ext cx="1716299" cy="1717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grpSp>
        <p:nvGrpSpPr>
          <p:cNvPr id="22" name="Группа 21"/>
          <p:cNvGrpSpPr/>
          <p:nvPr/>
        </p:nvGrpSpPr>
        <p:grpSpPr>
          <a:xfrm>
            <a:off x="7426800" y="1713150"/>
            <a:ext cx="1716299" cy="1717200"/>
            <a:chOff x="7427701" y="1713150"/>
            <a:chExt cx="1716299" cy="1717200"/>
          </a:xfrm>
        </p:grpSpPr>
        <p:sp>
          <p:nvSpPr>
            <p:cNvPr id="25" name="Прямоугольник 24"/>
            <p:cNvSpPr/>
            <p:nvPr/>
          </p:nvSpPr>
          <p:spPr bwMode="auto">
            <a:xfrm>
              <a:off x="7427701" y="1713150"/>
              <a:ext cx="1716299" cy="171720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Полилиния 20"/>
            <p:cNvSpPr>
              <a:spLocks noChangeAspect="1"/>
            </p:cNvSpPr>
            <p:nvPr/>
          </p:nvSpPr>
          <p:spPr bwMode="auto">
            <a:xfrm>
              <a:off x="7427701" y="1716750"/>
              <a:ext cx="1712696" cy="1713600"/>
            </a:xfrm>
            <a:custGeom>
              <a:avLst/>
              <a:gdLst>
                <a:gd name="connsiteX0" fmla="*/ 1712696 w 1712696"/>
                <a:gd name="connsiteY0" fmla="*/ 1664380 h 1713600"/>
                <a:gd name="connsiteX1" fmla="*/ 1712696 w 1712696"/>
                <a:gd name="connsiteY1" fmla="*/ 1713600 h 1713600"/>
                <a:gd name="connsiteX2" fmla="*/ 1666083 w 1712696"/>
                <a:gd name="connsiteY2" fmla="*/ 1713600 h 1713600"/>
                <a:gd name="connsiteX3" fmla="*/ 1712696 w 1712696"/>
                <a:gd name="connsiteY3" fmla="*/ 1277272 h 1713600"/>
                <a:gd name="connsiteX4" fmla="*/ 1712696 w 1712696"/>
                <a:gd name="connsiteY4" fmla="*/ 1476393 h 1713600"/>
                <a:gd name="connsiteX5" fmla="*/ 1488054 w 1712696"/>
                <a:gd name="connsiteY5" fmla="*/ 1713600 h 1713600"/>
                <a:gd name="connsiteX6" fmla="*/ 1299480 w 1712696"/>
                <a:gd name="connsiteY6" fmla="*/ 1713600 h 1713600"/>
                <a:gd name="connsiteX7" fmla="*/ 1712696 w 1712696"/>
                <a:gd name="connsiteY7" fmla="*/ 890163 h 1713600"/>
                <a:gd name="connsiteX8" fmla="*/ 1712696 w 1712696"/>
                <a:gd name="connsiteY8" fmla="*/ 1089285 h 1713600"/>
                <a:gd name="connsiteX9" fmla="*/ 1121451 w 1712696"/>
                <a:gd name="connsiteY9" fmla="*/ 1713600 h 1713600"/>
                <a:gd name="connsiteX10" fmla="*/ 932877 w 1712696"/>
                <a:gd name="connsiteY10" fmla="*/ 1713600 h 1713600"/>
                <a:gd name="connsiteX11" fmla="*/ 1712696 w 1712696"/>
                <a:gd name="connsiteY11" fmla="*/ 503055 h 1713600"/>
                <a:gd name="connsiteX12" fmla="*/ 1712696 w 1712696"/>
                <a:gd name="connsiteY12" fmla="*/ 702177 h 1713600"/>
                <a:gd name="connsiteX13" fmla="*/ 754848 w 1712696"/>
                <a:gd name="connsiteY13" fmla="*/ 1713600 h 1713600"/>
                <a:gd name="connsiteX14" fmla="*/ 566274 w 1712696"/>
                <a:gd name="connsiteY14" fmla="*/ 1713600 h 1713600"/>
                <a:gd name="connsiteX15" fmla="*/ 1712696 w 1712696"/>
                <a:gd name="connsiteY15" fmla="*/ 115947 h 1713600"/>
                <a:gd name="connsiteX16" fmla="*/ 1712696 w 1712696"/>
                <a:gd name="connsiteY16" fmla="*/ 315069 h 1713600"/>
                <a:gd name="connsiteX17" fmla="*/ 388245 w 1712696"/>
                <a:gd name="connsiteY17" fmla="*/ 1713600 h 1713600"/>
                <a:gd name="connsiteX18" fmla="*/ 199671 w 1712696"/>
                <a:gd name="connsiteY18" fmla="*/ 1713600 h 1713600"/>
                <a:gd name="connsiteX19" fmla="*/ 0 w 1712696"/>
                <a:gd name="connsiteY19" fmla="*/ 0 h 1713600"/>
                <a:gd name="connsiteX20" fmla="*/ 1712696 w 1712696"/>
                <a:gd name="connsiteY20" fmla="*/ 0 h 1713600"/>
                <a:gd name="connsiteX21" fmla="*/ 1712696 w 1712696"/>
                <a:gd name="connsiteY21" fmla="*/ 1801 h 1713600"/>
                <a:gd name="connsiteX22" fmla="*/ 1642767 w 1712696"/>
                <a:gd name="connsiteY22" fmla="*/ 1801 h 1713600"/>
                <a:gd name="connsiteX23" fmla="*/ 21642 w 1712696"/>
                <a:gd name="connsiteY23" fmla="*/ 1713600 h 1713600"/>
                <a:gd name="connsiteX24" fmla="*/ 0 w 1712696"/>
                <a:gd name="connsiteY24" fmla="*/ 1713600 h 1713600"/>
                <a:gd name="connsiteX25" fmla="*/ 0 w 1712696"/>
                <a:gd name="connsiteY25" fmla="*/ 1537331 h 1713600"/>
                <a:gd name="connsiteX26" fmla="*/ 1454193 w 1712696"/>
                <a:gd name="connsiteY26" fmla="*/ 1801 h 1713600"/>
                <a:gd name="connsiteX27" fmla="*/ 1276164 w 1712696"/>
                <a:gd name="connsiteY27" fmla="*/ 1801 h 1713600"/>
                <a:gd name="connsiteX28" fmla="*/ 0 w 1712696"/>
                <a:gd name="connsiteY28" fmla="*/ 1349344 h 1713600"/>
                <a:gd name="connsiteX29" fmla="*/ 0 w 1712696"/>
                <a:gd name="connsiteY29" fmla="*/ 1150223 h 1713600"/>
                <a:gd name="connsiteX30" fmla="*/ 1087590 w 1712696"/>
                <a:gd name="connsiteY30" fmla="*/ 1801 h 1713600"/>
                <a:gd name="connsiteX31" fmla="*/ 909561 w 1712696"/>
                <a:gd name="connsiteY31" fmla="*/ 1801 h 1713600"/>
                <a:gd name="connsiteX32" fmla="*/ 0 w 1712696"/>
                <a:gd name="connsiteY32" fmla="*/ 962236 h 1713600"/>
                <a:gd name="connsiteX33" fmla="*/ 0 w 1712696"/>
                <a:gd name="connsiteY33" fmla="*/ 763115 h 1713600"/>
                <a:gd name="connsiteX34" fmla="*/ 720987 w 1712696"/>
                <a:gd name="connsiteY34" fmla="*/ 1801 h 1713600"/>
                <a:gd name="connsiteX35" fmla="*/ 542958 w 1712696"/>
                <a:gd name="connsiteY35" fmla="*/ 1801 h 1713600"/>
                <a:gd name="connsiteX36" fmla="*/ 0 w 1712696"/>
                <a:gd name="connsiteY36" fmla="*/ 575128 h 1713600"/>
                <a:gd name="connsiteX37" fmla="*/ 0 w 1712696"/>
                <a:gd name="connsiteY37" fmla="*/ 376007 h 1713600"/>
                <a:gd name="connsiteX38" fmla="*/ 354384 w 1712696"/>
                <a:gd name="connsiteY38" fmla="*/ 1801 h 1713600"/>
                <a:gd name="connsiteX39" fmla="*/ 176355 w 1712696"/>
                <a:gd name="connsiteY39" fmla="*/ 1801 h 1713600"/>
                <a:gd name="connsiteX40" fmla="*/ 0 w 1712696"/>
                <a:gd name="connsiteY40" fmla="*/ 18802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712696" h="1713600">
                  <a:moveTo>
                    <a:pt x="1712696" y="1664380"/>
                  </a:moveTo>
                  <a:lnTo>
                    <a:pt x="1712696" y="1713600"/>
                  </a:lnTo>
                  <a:lnTo>
                    <a:pt x="1666083" y="1713600"/>
                  </a:lnTo>
                  <a:close/>
                  <a:moveTo>
                    <a:pt x="1712696" y="1277272"/>
                  </a:moveTo>
                  <a:lnTo>
                    <a:pt x="1712696" y="1476393"/>
                  </a:lnTo>
                  <a:lnTo>
                    <a:pt x="1488054" y="1713600"/>
                  </a:lnTo>
                  <a:lnTo>
                    <a:pt x="1299480" y="1713600"/>
                  </a:lnTo>
                  <a:close/>
                  <a:moveTo>
                    <a:pt x="1712696" y="890163"/>
                  </a:moveTo>
                  <a:lnTo>
                    <a:pt x="1712696" y="1089285"/>
                  </a:lnTo>
                  <a:lnTo>
                    <a:pt x="1121451" y="1713600"/>
                  </a:lnTo>
                  <a:lnTo>
                    <a:pt x="932877" y="1713600"/>
                  </a:lnTo>
                  <a:close/>
                  <a:moveTo>
                    <a:pt x="1712696" y="503055"/>
                  </a:moveTo>
                  <a:lnTo>
                    <a:pt x="1712696" y="702177"/>
                  </a:lnTo>
                  <a:lnTo>
                    <a:pt x="754848" y="1713600"/>
                  </a:lnTo>
                  <a:lnTo>
                    <a:pt x="566274" y="1713600"/>
                  </a:lnTo>
                  <a:close/>
                  <a:moveTo>
                    <a:pt x="1712696" y="115947"/>
                  </a:moveTo>
                  <a:lnTo>
                    <a:pt x="1712696" y="315069"/>
                  </a:lnTo>
                  <a:lnTo>
                    <a:pt x="388245" y="1713600"/>
                  </a:lnTo>
                  <a:lnTo>
                    <a:pt x="199671" y="1713600"/>
                  </a:lnTo>
                  <a:close/>
                  <a:moveTo>
                    <a:pt x="0" y="0"/>
                  </a:moveTo>
                  <a:lnTo>
                    <a:pt x="1712696" y="0"/>
                  </a:lnTo>
                  <a:lnTo>
                    <a:pt x="1712696" y="1801"/>
                  </a:lnTo>
                  <a:lnTo>
                    <a:pt x="1642767" y="1801"/>
                  </a:lnTo>
                  <a:lnTo>
                    <a:pt x="21642" y="1713600"/>
                  </a:lnTo>
                  <a:lnTo>
                    <a:pt x="0" y="1713600"/>
                  </a:lnTo>
                  <a:lnTo>
                    <a:pt x="0" y="1537331"/>
                  </a:lnTo>
                  <a:lnTo>
                    <a:pt x="1454193" y="1801"/>
                  </a:lnTo>
                  <a:lnTo>
                    <a:pt x="1276164" y="1801"/>
                  </a:lnTo>
                  <a:lnTo>
                    <a:pt x="0" y="1349344"/>
                  </a:lnTo>
                  <a:lnTo>
                    <a:pt x="0" y="1150223"/>
                  </a:lnTo>
                  <a:lnTo>
                    <a:pt x="1087590" y="1801"/>
                  </a:lnTo>
                  <a:lnTo>
                    <a:pt x="909561" y="1801"/>
                  </a:lnTo>
                  <a:lnTo>
                    <a:pt x="0" y="962236"/>
                  </a:lnTo>
                  <a:lnTo>
                    <a:pt x="0" y="763115"/>
                  </a:lnTo>
                  <a:lnTo>
                    <a:pt x="720987" y="1801"/>
                  </a:lnTo>
                  <a:lnTo>
                    <a:pt x="542958" y="1801"/>
                  </a:lnTo>
                  <a:lnTo>
                    <a:pt x="0" y="575128"/>
                  </a:lnTo>
                  <a:lnTo>
                    <a:pt x="0" y="376007"/>
                  </a:lnTo>
                  <a:lnTo>
                    <a:pt x="354384" y="1801"/>
                  </a:lnTo>
                  <a:lnTo>
                    <a:pt x="176355" y="1801"/>
                  </a:lnTo>
                  <a:lnTo>
                    <a:pt x="0" y="18802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77044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траслевые структур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4868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95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Прямоугольник 14"/>
          <p:cNvSpPr/>
          <p:nvPr/>
        </p:nvSpPr>
        <p:spPr bwMode="auto">
          <a:xfrm>
            <a:off x="-1" y="0"/>
            <a:ext cx="7426800" cy="51435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58775" y="280251"/>
            <a:ext cx="6933411" cy="141269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z="5400" baseline="0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ТРАСЛЕВЫЕ</a:t>
            </a:r>
            <a:br>
              <a:rPr lang="ru-RU" dirty="0" smtClean="0"/>
            </a:br>
            <a:r>
              <a:rPr lang="ru-RU" dirty="0" smtClean="0"/>
              <a:t>СТРУКТУРЫ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0" name="Прямоугольник 29"/>
          <p:cNvSpPr/>
          <p:nvPr/>
        </p:nvSpPr>
        <p:spPr bwMode="auto">
          <a:xfrm>
            <a:off x="7426800" y="0"/>
            <a:ext cx="1716299" cy="17172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Прямоугольник 32"/>
          <p:cNvSpPr>
            <a:spLocks noChangeAspect="1"/>
          </p:cNvSpPr>
          <p:nvPr/>
        </p:nvSpPr>
        <p:spPr bwMode="auto">
          <a:xfrm>
            <a:off x="7426798" y="3426300"/>
            <a:ext cx="1717202" cy="1717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sz="1350" b="1">
              <a:latin typeface="Arial" charset="0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7426800" y="1713150"/>
            <a:ext cx="1717200" cy="1717200"/>
            <a:chOff x="5642293" y="1669691"/>
            <a:chExt cx="1717200" cy="1717200"/>
          </a:xfrm>
        </p:grpSpPr>
        <p:sp>
          <p:nvSpPr>
            <p:cNvPr id="20" name="Прямоугольник 19"/>
            <p:cNvSpPr/>
            <p:nvPr/>
          </p:nvSpPr>
          <p:spPr bwMode="auto">
            <a:xfrm>
              <a:off x="5642293" y="1669691"/>
              <a:ext cx="1717200" cy="17172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Полилиния 20"/>
            <p:cNvSpPr>
              <a:spLocks noChangeAspect="1"/>
            </p:cNvSpPr>
            <p:nvPr/>
          </p:nvSpPr>
          <p:spPr bwMode="auto">
            <a:xfrm>
              <a:off x="5642293" y="1674497"/>
              <a:ext cx="814205" cy="1707588"/>
            </a:xfrm>
            <a:custGeom>
              <a:avLst/>
              <a:gdLst>
                <a:gd name="connsiteX0" fmla="*/ 0 w 631564"/>
                <a:gd name="connsiteY0" fmla="*/ 0 h 1324544"/>
                <a:gd name="connsiteX1" fmla="*/ 97634 w 631564"/>
                <a:gd name="connsiteY1" fmla="*/ 9803 h 1324544"/>
                <a:gd name="connsiteX2" fmla="*/ 631564 w 631564"/>
                <a:gd name="connsiteY2" fmla="*/ 662272 h 1324544"/>
                <a:gd name="connsiteX3" fmla="*/ 97634 w 631564"/>
                <a:gd name="connsiteY3" fmla="*/ 1314741 h 1324544"/>
                <a:gd name="connsiteX4" fmla="*/ 0 w 631564"/>
                <a:gd name="connsiteY4" fmla="*/ 1324544 h 1324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564" h="1324544">
                  <a:moveTo>
                    <a:pt x="0" y="0"/>
                  </a:moveTo>
                  <a:lnTo>
                    <a:pt x="97634" y="9803"/>
                  </a:lnTo>
                  <a:cubicBezTo>
                    <a:pt x="402348" y="71905"/>
                    <a:pt x="631564" y="340428"/>
                    <a:pt x="631564" y="662272"/>
                  </a:cubicBezTo>
                  <a:cubicBezTo>
                    <a:pt x="631564" y="984116"/>
                    <a:pt x="402348" y="1252639"/>
                    <a:pt x="97634" y="1314741"/>
                  </a:cubicBezTo>
                  <a:lnTo>
                    <a:pt x="0" y="1324544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Полилиния 22"/>
            <p:cNvSpPr>
              <a:spLocks noChangeAspect="1"/>
            </p:cNvSpPr>
            <p:nvPr/>
          </p:nvSpPr>
          <p:spPr bwMode="auto">
            <a:xfrm>
              <a:off x="6545288" y="1674497"/>
              <a:ext cx="814205" cy="1707588"/>
            </a:xfrm>
            <a:custGeom>
              <a:avLst/>
              <a:gdLst>
                <a:gd name="connsiteX0" fmla="*/ 631564 w 631564"/>
                <a:gd name="connsiteY0" fmla="*/ 0 h 1324544"/>
                <a:gd name="connsiteX1" fmla="*/ 631564 w 631564"/>
                <a:gd name="connsiteY1" fmla="*/ 1324544 h 1324544"/>
                <a:gd name="connsiteX2" fmla="*/ 533931 w 631564"/>
                <a:gd name="connsiteY2" fmla="*/ 1314741 h 1324544"/>
                <a:gd name="connsiteX3" fmla="*/ 0 w 631564"/>
                <a:gd name="connsiteY3" fmla="*/ 662272 h 1324544"/>
                <a:gd name="connsiteX4" fmla="*/ 533931 w 631564"/>
                <a:gd name="connsiteY4" fmla="*/ 9803 h 1324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564" h="1324544">
                  <a:moveTo>
                    <a:pt x="631564" y="0"/>
                  </a:moveTo>
                  <a:lnTo>
                    <a:pt x="631564" y="1324544"/>
                  </a:lnTo>
                  <a:lnTo>
                    <a:pt x="533931" y="1314741"/>
                  </a:lnTo>
                  <a:cubicBezTo>
                    <a:pt x="229217" y="1252639"/>
                    <a:pt x="0" y="984116"/>
                    <a:pt x="0" y="662272"/>
                  </a:cubicBezTo>
                  <a:cubicBezTo>
                    <a:pt x="0" y="340428"/>
                    <a:pt x="229217" y="71905"/>
                    <a:pt x="533931" y="9803"/>
                  </a:cubicBez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7" name="Полилиния 26"/>
            <p:cNvSpPr>
              <a:spLocks noChangeAspect="1"/>
            </p:cNvSpPr>
            <p:nvPr/>
          </p:nvSpPr>
          <p:spPr bwMode="auto">
            <a:xfrm>
              <a:off x="6545448" y="2530091"/>
              <a:ext cx="814045" cy="851994"/>
            </a:xfrm>
            <a:custGeom>
              <a:avLst/>
              <a:gdLst>
                <a:gd name="connsiteX0" fmla="*/ 0 w 814045"/>
                <a:gd name="connsiteY0" fmla="*/ 0 h 851994"/>
                <a:gd name="connsiteX1" fmla="*/ 814045 w 814045"/>
                <a:gd name="connsiteY1" fmla="*/ 0 h 851994"/>
                <a:gd name="connsiteX2" fmla="*/ 814045 w 814045"/>
                <a:gd name="connsiteY2" fmla="*/ 851994 h 851994"/>
                <a:gd name="connsiteX3" fmla="*/ 688178 w 814045"/>
                <a:gd name="connsiteY3" fmla="*/ 839356 h 851994"/>
                <a:gd name="connsiteX4" fmla="*/ 13305 w 814045"/>
                <a:gd name="connsiteY4" fmla="*/ 150187 h 851994"/>
                <a:gd name="connsiteX5" fmla="*/ 0 w 814045"/>
                <a:gd name="connsiteY5" fmla="*/ 0 h 851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4045" h="851994">
                  <a:moveTo>
                    <a:pt x="0" y="0"/>
                  </a:moveTo>
                  <a:lnTo>
                    <a:pt x="814045" y="0"/>
                  </a:lnTo>
                  <a:lnTo>
                    <a:pt x="814045" y="851994"/>
                  </a:lnTo>
                  <a:lnTo>
                    <a:pt x="688178" y="839356"/>
                  </a:lnTo>
                  <a:cubicBezTo>
                    <a:pt x="344448" y="769303"/>
                    <a:pt x="75237" y="495504"/>
                    <a:pt x="13305" y="15018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814949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 Дирекц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443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098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Прямоугольник 19"/>
          <p:cNvSpPr/>
          <p:nvPr/>
        </p:nvSpPr>
        <p:spPr bwMode="auto">
          <a:xfrm>
            <a:off x="0" y="0"/>
            <a:ext cx="7426800" cy="51435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58775" y="280251"/>
            <a:ext cx="6933411" cy="2119042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z="5400" baseline="0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 ДИРЕКЦИИ</a:t>
            </a:r>
            <a:br>
              <a:rPr lang="ru-RU" dirty="0" smtClean="0"/>
            </a:br>
            <a:r>
              <a:rPr lang="ru-RU" dirty="0" smtClean="0"/>
              <a:t>НАЗВАНИЕ ДИРЕКЦИ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0" name="Прямоугольник 29"/>
          <p:cNvSpPr/>
          <p:nvPr/>
        </p:nvSpPr>
        <p:spPr bwMode="auto">
          <a:xfrm>
            <a:off x="7427701" y="0"/>
            <a:ext cx="1716299" cy="17172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Прямоугольник 32"/>
          <p:cNvSpPr>
            <a:spLocks noChangeAspect="1"/>
          </p:cNvSpPr>
          <p:nvPr/>
        </p:nvSpPr>
        <p:spPr bwMode="auto">
          <a:xfrm>
            <a:off x="7426798" y="3426300"/>
            <a:ext cx="1717202" cy="1717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sz="1350" b="1">
              <a:latin typeface="Arial" charset="0"/>
            </a:endParaRPr>
          </a:p>
        </p:txBody>
      </p:sp>
      <p:grpSp>
        <p:nvGrpSpPr>
          <p:cNvPr id="16" name="Группа 15"/>
          <p:cNvGrpSpPr/>
          <p:nvPr/>
        </p:nvGrpSpPr>
        <p:grpSpPr>
          <a:xfrm>
            <a:off x="7426798" y="1713150"/>
            <a:ext cx="1716299" cy="1717200"/>
            <a:chOff x="7427701" y="1713150"/>
            <a:chExt cx="1716299" cy="1717200"/>
          </a:xfrm>
        </p:grpSpPr>
        <p:sp>
          <p:nvSpPr>
            <p:cNvPr id="17" name="Прямоугольник 16"/>
            <p:cNvSpPr/>
            <p:nvPr/>
          </p:nvSpPr>
          <p:spPr bwMode="auto">
            <a:xfrm>
              <a:off x="7427701" y="1713150"/>
              <a:ext cx="1716299" cy="171720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Полилиния 17"/>
            <p:cNvSpPr>
              <a:spLocks noChangeAspect="1"/>
            </p:cNvSpPr>
            <p:nvPr/>
          </p:nvSpPr>
          <p:spPr bwMode="auto">
            <a:xfrm>
              <a:off x="7427701" y="1716750"/>
              <a:ext cx="1712696" cy="1713600"/>
            </a:xfrm>
            <a:custGeom>
              <a:avLst/>
              <a:gdLst>
                <a:gd name="connsiteX0" fmla="*/ 1712696 w 1712696"/>
                <a:gd name="connsiteY0" fmla="*/ 1664380 h 1713600"/>
                <a:gd name="connsiteX1" fmla="*/ 1712696 w 1712696"/>
                <a:gd name="connsiteY1" fmla="*/ 1713600 h 1713600"/>
                <a:gd name="connsiteX2" fmla="*/ 1666083 w 1712696"/>
                <a:gd name="connsiteY2" fmla="*/ 1713600 h 1713600"/>
                <a:gd name="connsiteX3" fmla="*/ 1712696 w 1712696"/>
                <a:gd name="connsiteY3" fmla="*/ 1277272 h 1713600"/>
                <a:gd name="connsiteX4" fmla="*/ 1712696 w 1712696"/>
                <a:gd name="connsiteY4" fmla="*/ 1476393 h 1713600"/>
                <a:gd name="connsiteX5" fmla="*/ 1488054 w 1712696"/>
                <a:gd name="connsiteY5" fmla="*/ 1713600 h 1713600"/>
                <a:gd name="connsiteX6" fmla="*/ 1299480 w 1712696"/>
                <a:gd name="connsiteY6" fmla="*/ 1713600 h 1713600"/>
                <a:gd name="connsiteX7" fmla="*/ 1712696 w 1712696"/>
                <a:gd name="connsiteY7" fmla="*/ 890163 h 1713600"/>
                <a:gd name="connsiteX8" fmla="*/ 1712696 w 1712696"/>
                <a:gd name="connsiteY8" fmla="*/ 1089285 h 1713600"/>
                <a:gd name="connsiteX9" fmla="*/ 1121451 w 1712696"/>
                <a:gd name="connsiteY9" fmla="*/ 1713600 h 1713600"/>
                <a:gd name="connsiteX10" fmla="*/ 932877 w 1712696"/>
                <a:gd name="connsiteY10" fmla="*/ 1713600 h 1713600"/>
                <a:gd name="connsiteX11" fmla="*/ 1712696 w 1712696"/>
                <a:gd name="connsiteY11" fmla="*/ 503055 h 1713600"/>
                <a:gd name="connsiteX12" fmla="*/ 1712696 w 1712696"/>
                <a:gd name="connsiteY12" fmla="*/ 702177 h 1713600"/>
                <a:gd name="connsiteX13" fmla="*/ 754848 w 1712696"/>
                <a:gd name="connsiteY13" fmla="*/ 1713600 h 1713600"/>
                <a:gd name="connsiteX14" fmla="*/ 566274 w 1712696"/>
                <a:gd name="connsiteY14" fmla="*/ 1713600 h 1713600"/>
                <a:gd name="connsiteX15" fmla="*/ 1712696 w 1712696"/>
                <a:gd name="connsiteY15" fmla="*/ 115947 h 1713600"/>
                <a:gd name="connsiteX16" fmla="*/ 1712696 w 1712696"/>
                <a:gd name="connsiteY16" fmla="*/ 315069 h 1713600"/>
                <a:gd name="connsiteX17" fmla="*/ 388245 w 1712696"/>
                <a:gd name="connsiteY17" fmla="*/ 1713600 h 1713600"/>
                <a:gd name="connsiteX18" fmla="*/ 199671 w 1712696"/>
                <a:gd name="connsiteY18" fmla="*/ 1713600 h 1713600"/>
                <a:gd name="connsiteX19" fmla="*/ 0 w 1712696"/>
                <a:gd name="connsiteY19" fmla="*/ 0 h 1713600"/>
                <a:gd name="connsiteX20" fmla="*/ 1712696 w 1712696"/>
                <a:gd name="connsiteY20" fmla="*/ 0 h 1713600"/>
                <a:gd name="connsiteX21" fmla="*/ 1712696 w 1712696"/>
                <a:gd name="connsiteY21" fmla="*/ 1801 h 1713600"/>
                <a:gd name="connsiteX22" fmla="*/ 1642767 w 1712696"/>
                <a:gd name="connsiteY22" fmla="*/ 1801 h 1713600"/>
                <a:gd name="connsiteX23" fmla="*/ 21642 w 1712696"/>
                <a:gd name="connsiteY23" fmla="*/ 1713600 h 1713600"/>
                <a:gd name="connsiteX24" fmla="*/ 0 w 1712696"/>
                <a:gd name="connsiteY24" fmla="*/ 1713600 h 1713600"/>
                <a:gd name="connsiteX25" fmla="*/ 0 w 1712696"/>
                <a:gd name="connsiteY25" fmla="*/ 1537331 h 1713600"/>
                <a:gd name="connsiteX26" fmla="*/ 1454193 w 1712696"/>
                <a:gd name="connsiteY26" fmla="*/ 1801 h 1713600"/>
                <a:gd name="connsiteX27" fmla="*/ 1276164 w 1712696"/>
                <a:gd name="connsiteY27" fmla="*/ 1801 h 1713600"/>
                <a:gd name="connsiteX28" fmla="*/ 0 w 1712696"/>
                <a:gd name="connsiteY28" fmla="*/ 1349344 h 1713600"/>
                <a:gd name="connsiteX29" fmla="*/ 0 w 1712696"/>
                <a:gd name="connsiteY29" fmla="*/ 1150223 h 1713600"/>
                <a:gd name="connsiteX30" fmla="*/ 1087590 w 1712696"/>
                <a:gd name="connsiteY30" fmla="*/ 1801 h 1713600"/>
                <a:gd name="connsiteX31" fmla="*/ 909561 w 1712696"/>
                <a:gd name="connsiteY31" fmla="*/ 1801 h 1713600"/>
                <a:gd name="connsiteX32" fmla="*/ 0 w 1712696"/>
                <a:gd name="connsiteY32" fmla="*/ 962236 h 1713600"/>
                <a:gd name="connsiteX33" fmla="*/ 0 w 1712696"/>
                <a:gd name="connsiteY33" fmla="*/ 763115 h 1713600"/>
                <a:gd name="connsiteX34" fmla="*/ 720987 w 1712696"/>
                <a:gd name="connsiteY34" fmla="*/ 1801 h 1713600"/>
                <a:gd name="connsiteX35" fmla="*/ 542958 w 1712696"/>
                <a:gd name="connsiteY35" fmla="*/ 1801 h 1713600"/>
                <a:gd name="connsiteX36" fmla="*/ 0 w 1712696"/>
                <a:gd name="connsiteY36" fmla="*/ 575128 h 1713600"/>
                <a:gd name="connsiteX37" fmla="*/ 0 w 1712696"/>
                <a:gd name="connsiteY37" fmla="*/ 376007 h 1713600"/>
                <a:gd name="connsiteX38" fmla="*/ 354384 w 1712696"/>
                <a:gd name="connsiteY38" fmla="*/ 1801 h 1713600"/>
                <a:gd name="connsiteX39" fmla="*/ 176355 w 1712696"/>
                <a:gd name="connsiteY39" fmla="*/ 1801 h 1713600"/>
                <a:gd name="connsiteX40" fmla="*/ 0 w 1712696"/>
                <a:gd name="connsiteY40" fmla="*/ 18802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712696" h="1713600">
                  <a:moveTo>
                    <a:pt x="1712696" y="1664380"/>
                  </a:moveTo>
                  <a:lnTo>
                    <a:pt x="1712696" y="1713600"/>
                  </a:lnTo>
                  <a:lnTo>
                    <a:pt x="1666083" y="1713600"/>
                  </a:lnTo>
                  <a:close/>
                  <a:moveTo>
                    <a:pt x="1712696" y="1277272"/>
                  </a:moveTo>
                  <a:lnTo>
                    <a:pt x="1712696" y="1476393"/>
                  </a:lnTo>
                  <a:lnTo>
                    <a:pt x="1488054" y="1713600"/>
                  </a:lnTo>
                  <a:lnTo>
                    <a:pt x="1299480" y="1713600"/>
                  </a:lnTo>
                  <a:close/>
                  <a:moveTo>
                    <a:pt x="1712696" y="890163"/>
                  </a:moveTo>
                  <a:lnTo>
                    <a:pt x="1712696" y="1089285"/>
                  </a:lnTo>
                  <a:lnTo>
                    <a:pt x="1121451" y="1713600"/>
                  </a:lnTo>
                  <a:lnTo>
                    <a:pt x="932877" y="1713600"/>
                  </a:lnTo>
                  <a:close/>
                  <a:moveTo>
                    <a:pt x="1712696" y="503055"/>
                  </a:moveTo>
                  <a:lnTo>
                    <a:pt x="1712696" y="702177"/>
                  </a:lnTo>
                  <a:lnTo>
                    <a:pt x="754848" y="1713600"/>
                  </a:lnTo>
                  <a:lnTo>
                    <a:pt x="566274" y="1713600"/>
                  </a:lnTo>
                  <a:close/>
                  <a:moveTo>
                    <a:pt x="1712696" y="115947"/>
                  </a:moveTo>
                  <a:lnTo>
                    <a:pt x="1712696" y="315069"/>
                  </a:lnTo>
                  <a:lnTo>
                    <a:pt x="388245" y="1713600"/>
                  </a:lnTo>
                  <a:lnTo>
                    <a:pt x="199671" y="1713600"/>
                  </a:lnTo>
                  <a:close/>
                  <a:moveTo>
                    <a:pt x="0" y="0"/>
                  </a:moveTo>
                  <a:lnTo>
                    <a:pt x="1712696" y="0"/>
                  </a:lnTo>
                  <a:lnTo>
                    <a:pt x="1712696" y="1801"/>
                  </a:lnTo>
                  <a:lnTo>
                    <a:pt x="1642767" y="1801"/>
                  </a:lnTo>
                  <a:lnTo>
                    <a:pt x="21642" y="1713600"/>
                  </a:lnTo>
                  <a:lnTo>
                    <a:pt x="0" y="1713600"/>
                  </a:lnTo>
                  <a:lnTo>
                    <a:pt x="0" y="1537331"/>
                  </a:lnTo>
                  <a:lnTo>
                    <a:pt x="1454193" y="1801"/>
                  </a:lnTo>
                  <a:lnTo>
                    <a:pt x="1276164" y="1801"/>
                  </a:lnTo>
                  <a:lnTo>
                    <a:pt x="0" y="1349344"/>
                  </a:lnTo>
                  <a:lnTo>
                    <a:pt x="0" y="1150223"/>
                  </a:lnTo>
                  <a:lnTo>
                    <a:pt x="1087590" y="1801"/>
                  </a:lnTo>
                  <a:lnTo>
                    <a:pt x="909561" y="1801"/>
                  </a:lnTo>
                  <a:lnTo>
                    <a:pt x="0" y="962236"/>
                  </a:lnTo>
                  <a:lnTo>
                    <a:pt x="0" y="763115"/>
                  </a:lnTo>
                  <a:lnTo>
                    <a:pt x="720987" y="1801"/>
                  </a:lnTo>
                  <a:lnTo>
                    <a:pt x="542958" y="1801"/>
                  </a:lnTo>
                  <a:lnTo>
                    <a:pt x="0" y="575128"/>
                  </a:lnTo>
                  <a:lnTo>
                    <a:pt x="0" y="376007"/>
                  </a:lnTo>
                  <a:lnTo>
                    <a:pt x="354384" y="1801"/>
                  </a:lnTo>
                  <a:lnTo>
                    <a:pt x="176355" y="1801"/>
                  </a:lnTo>
                  <a:lnTo>
                    <a:pt x="0" y="18802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9" name="Группа 18"/>
          <p:cNvGrpSpPr>
            <a:grpSpLocks noChangeAspect="1"/>
          </p:cNvGrpSpPr>
          <p:nvPr/>
        </p:nvGrpSpPr>
        <p:grpSpPr>
          <a:xfrm>
            <a:off x="7426798" y="0"/>
            <a:ext cx="1716299" cy="1717200"/>
            <a:chOff x="6573600" y="0"/>
            <a:chExt cx="2570400" cy="2571750"/>
          </a:xfrm>
        </p:grpSpPr>
        <p:sp>
          <p:nvSpPr>
            <p:cNvPr id="22" name="Прямоугольник 21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24" name="Овал 23"/>
            <p:cNvSpPr/>
            <p:nvPr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550349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072197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65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6768592" cy="1349828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Место (город)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Месяц Год</a:t>
            </a:r>
            <a:endParaRPr lang="ru-RU" dirty="0"/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990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grpSp>
        <p:nvGrpSpPr>
          <p:cNvPr id="3" name="Группа 2"/>
          <p:cNvGrpSpPr>
            <a:grpSpLocks noChangeAspect="1"/>
          </p:cNvGrpSpPr>
          <p:nvPr userDrawn="1"/>
        </p:nvGrpSpPr>
        <p:grpSpPr>
          <a:xfrm>
            <a:off x="5710499" y="3425398"/>
            <a:ext cx="1717200" cy="1718102"/>
            <a:chOff x="5493178" y="3425398"/>
            <a:chExt cx="1717200" cy="1718102"/>
          </a:xfrm>
        </p:grpSpPr>
        <p:sp>
          <p:nvSpPr>
            <p:cNvPr id="57" name="Прямоугольник 56"/>
            <p:cNvSpPr>
              <a:spLocks noChangeAspect="1"/>
            </p:cNvSpPr>
            <p:nvPr userDrawn="1"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>
              <a:spLocks noChangeAspect="1"/>
            </p:cNvSpPr>
            <p:nvPr userDrawn="1"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8" name="Группа 57"/>
          <p:cNvGrpSpPr>
            <a:grpSpLocks noChangeAspect="1"/>
          </p:cNvGrpSpPr>
          <p:nvPr userDrawn="1"/>
        </p:nvGrpSpPr>
        <p:grpSpPr>
          <a:xfrm>
            <a:off x="7427701" y="3426300"/>
            <a:ext cx="1716299" cy="1717200"/>
            <a:chOff x="6573600" y="0"/>
            <a:chExt cx="2570400" cy="2571750"/>
          </a:xfrm>
        </p:grpSpPr>
        <p:sp>
          <p:nvSpPr>
            <p:cNvPr id="59" name="Прямоугольник 58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Полилиния 59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9" name="Группа 8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0" name="Прямоугольник 8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1" name="Прямая соединительная линия 9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2" name="Группа 9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TextBox 10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432622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 продуктах и сервиса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7276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200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Прямоугольник 36"/>
          <p:cNvSpPr/>
          <p:nvPr/>
        </p:nvSpPr>
        <p:spPr bwMode="auto">
          <a:xfrm>
            <a:off x="0" y="0"/>
            <a:ext cx="7426800" cy="51435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58775" y="280251"/>
            <a:ext cx="6933411" cy="141269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z="5400" baseline="0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 ПРОДУКТАХ </a:t>
            </a:r>
            <a:br>
              <a:rPr lang="ru-RU" dirty="0" smtClean="0"/>
            </a:br>
            <a:r>
              <a:rPr lang="ru-RU" dirty="0" smtClean="0"/>
              <a:t>И СЕРВИСАХ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0" name="Прямоугольник 29"/>
          <p:cNvSpPr/>
          <p:nvPr/>
        </p:nvSpPr>
        <p:spPr bwMode="auto">
          <a:xfrm>
            <a:off x="7427701" y="0"/>
            <a:ext cx="1716299" cy="17172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Прямоугольник 32"/>
          <p:cNvSpPr>
            <a:spLocks noChangeAspect="1"/>
          </p:cNvSpPr>
          <p:nvPr/>
        </p:nvSpPr>
        <p:spPr bwMode="auto">
          <a:xfrm>
            <a:off x="7426798" y="1713150"/>
            <a:ext cx="1717202" cy="1717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sz="1350" b="1">
              <a:latin typeface="Arial" charset="0"/>
            </a:endParaRPr>
          </a:p>
        </p:txBody>
      </p:sp>
      <p:grpSp>
        <p:nvGrpSpPr>
          <p:cNvPr id="15" name="Группа 14"/>
          <p:cNvGrpSpPr>
            <a:grpSpLocks noChangeAspect="1"/>
          </p:cNvGrpSpPr>
          <p:nvPr/>
        </p:nvGrpSpPr>
        <p:grpSpPr>
          <a:xfrm>
            <a:off x="7426798" y="0"/>
            <a:ext cx="1716299" cy="1717200"/>
            <a:chOff x="7427701" y="0"/>
            <a:chExt cx="1716299" cy="1717200"/>
          </a:xfrm>
        </p:grpSpPr>
        <p:sp>
          <p:nvSpPr>
            <p:cNvPr id="43" name="Полилиния 42"/>
            <p:cNvSpPr>
              <a:spLocks noChangeAspect="1"/>
            </p:cNvSpPr>
            <p:nvPr/>
          </p:nvSpPr>
          <p:spPr bwMode="auto">
            <a:xfrm>
              <a:off x="7427701" y="858600"/>
              <a:ext cx="1716298" cy="858600"/>
            </a:xfrm>
            <a:custGeom>
              <a:avLst/>
              <a:gdLst>
                <a:gd name="connsiteX0" fmla="*/ 857698 w 1716298"/>
                <a:gd name="connsiteY0" fmla="*/ 0 h 858600"/>
                <a:gd name="connsiteX1" fmla="*/ 1716298 w 1716298"/>
                <a:gd name="connsiteY1" fmla="*/ 858600 h 858600"/>
                <a:gd name="connsiteX2" fmla="*/ 0 w 1716298"/>
                <a:gd name="connsiteY2" fmla="*/ 858600 h 858600"/>
                <a:gd name="connsiteX3" fmla="*/ 0 w 1716298"/>
                <a:gd name="connsiteY3" fmla="*/ 840738 h 858600"/>
                <a:gd name="connsiteX4" fmla="*/ 3531 w 1716298"/>
                <a:gd name="connsiteY4" fmla="*/ 770813 h 858600"/>
                <a:gd name="connsiteX5" fmla="*/ 857698 w 1716298"/>
                <a:gd name="connsiteY5" fmla="*/ 0 h 85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16298" h="858600">
                  <a:moveTo>
                    <a:pt x="857698" y="0"/>
                  </a:moveTo>
                  <a:cubicBezTo>
                    <a:pt x="1331890" y="0"/>
                    <a:pt x="1716298" y="384408"/>
                    <a:pt x="1716298" y="858600"/>
                  </a:cubicBezTo>
                  <a:lnTo>
                    <a:pt x="0" y="858600"/>
                  </a:lnTo>
                  <a:lnTo>
                    <a:pt x="0" y="840738"/>
                  </a:lnTo>
                  <a:lnTo>
                    <a:pt x="3531" y="770813"/>
                  </a:lnTo>
                  <a:cubicBezTo>
                    <a:pt x="47500" y="337859"/>
                    <a:pt x="413143" y="0"/>
                    <a:pt x="857698" y="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2" name="Полилиния 41"/>
            <p:cNvSpPr>
              <a:spLocks noChangeAspect="1"/>
            </p:cNvSpPr>
            <p:nvPr/>
          </p:nvSpPr>
          <p:spPr bwMode="auto">
            <a:xfrm>
              <a:off x="7427701" y="0"/>
              <a:ext cx="1716299" cy="1717200"/>
            </a:xfrm>
            <a:custGeom>
              <a:avLst/>
              <a:gdLst>
                <a:gd name="connsiteX0" fmla="*/ 0 w 1716299"/>
                <a:gd name="connsiteY0" fmla="*/ 0 h 1717200"/>
                <a:gd name="connsiteX1" fmla="*/ 1716299 w 1716299"/>
                <a:gd name="connsiteY1" fmla="*/ 0 h 1717200"/>
                <a:gd name="connsiteX2" fmla="*/ 1716299 w 1716299"/>
                <a:gd name="connsiteY2" fmla="*/ 1717200 h 1717200"/>
                <a:gd name="connsiteX3" fmla="*/ 1716298 w 1716299"/>
                <a:gd name="connsiteY3" fmla="*/ 1717200 h 1717200"/>
                <a:gd name="connsiteX4" fmla="*/ 857698 w 1716299"/>
                <a:gd name="connsiteY4" fmla="*/ 858600 h 1717200"/>
                <a:gd name="connsiteX5" fmla="*/ 3531 w 1716299"/>
                <a:gd name="connsiteY5" fmla="*/ 1629413 h 1717200"/>
                <a:gd name="connsiteX6" fmla="*/ 0 w 1716299"/>
                <a:gd name="connsiteY6" fmla="*/ 1699338 h 1717200"/>
                <a:gd name="connsiteX7" fmla="*/ 0 w 1716299"/>
                <a:gd name="connsiteY7" fmla="*/ 0 h 171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6299" h="1717200">
                  <a:moveTo>
                    <a:pt x="0" y="0"/>
                  </a:moveTo>
                  <a:lnTo>
                    <a:pt x="1716299" y="0"/>
                  </a:lnTo>
                  <a:lnTo>
                    <a:pt x="1716299" y="1717200"/>
                  </a:lnTo>
                  <a:lnTo>
                    <a:pt x="1716298" y="1717200"/>
                  </a:lnTo>
                  <a:cubicBezTo>
                    <a:pt x="1716298" y="1243008"/>
                    <a:pt x="1331890" y="858600"/>
                    <a:pt x="857698" y="858600"/>
                  </a:cubicBezTo>
                  <a:cubicBezTo>
                    <a:pt x="413143" y="858600"/>
                    <a:pt x="47500" y="1196459"/>
                    <a:pt x="3531" y="1629413"/>
                  </a:cubicBezTo>
                  <a:lnTo>
                    <a:pt x="0" y="16993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14" name="Группа 13"/>
          <p:cNvGrpSpPr>
            <a:grpSpLocks noChangeAspect="1"/>
          </p:cNvGrpSpPr>
          <p:nvPr/>
        </p:nvGrpSpPr>
        <p:grpSpPr>
          <a:xfrm>
            <a:off x="7426798" y="3426300"/>
            <a:ext cx="1716299" cy="1717200"/>
            <a:chOff x="-309902" y="1968471"/>
            <a:chExt cx="1716299" cy="1717200"/>
          </a:xfrm>
        </p:grpSpPr>
        <p:sp>
          <p:nvSpPr>
            <p:cNvPr id="17" name="Прямоугольник 16"/>
            <p:cNvSpPr>
              <a:spLocks noChangeAspect="1"/>
            </p:cNvSpPr>
            <p:nvPr/>
          </p:nvSpPr>
          <p:spPr bwMode="auto">
            <a:xfrm>
              <a:off x="-309902" y="1968471"/>
              <a:ext cx="1716299" cy="171720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Полилиния 35"/>
            <p:cNvSpPr>
              <a:spLocks/>
            </p:cNvSpPr>
            <p:nvPr/>
          </p:nvSpPr>
          <p:spPr bwMode="auto">
            <a:xfrm>
              <a:off x="-171753" y="2107071"/>
              <a:ext cx="1440000" cy="1440000"/>
            </a:xfrm>
            <a:custGeom>
              <a:avLst/>
              <a:gdLst>
                <a:gd name="connsiteX0" fmla="*/ 2807084 w 2836652"/>
                <a:gd name="connsiteY0" fmla="*/ 1727294 h 2844000"/>
                <a:gd name="connsiteX1" fmla="*/ 2776855 w 2836652"/>
                <a:gd name="connsiteY1" fmla="*/ 1844860 h 2844000"/>
                <a:gd name="connsiteX2" fmla="*/ 1841645 w 2836652"/>
                <a:gd name="connsiteY2" fmla="*/ 2780070 h 2844000"/>
                <a:gd name="connsiteX3" fmla="*/ 1801654 w 2836652"/>
                <a:gd name="connsiteY3" fmla="*/ 2790353 h 2844000"/>
                <a:gd name="connsiteX4" fmla="*/ 2799360 w 2836652"/>
                <a:gd name="connsiteY4" fmla="*/ 1093539 h 2844000"/>
                <a:gd name="connsiteX5" fmla="*/ 2826362 w 2836652"/>
                <a:gd name="connsiteY5" fmla="*/ 1218703 h 2844000"/>
                <a:gd name="connsiteX6" fmla="*/ 2836652 w 2836652"/>
                <a:gd name="connsiteY6" fmla="*/ 1363744 h 2844000"/>
                <a:gd name="connsiteX7" fmla="*/ 1437536 w 2836652"/>
                <a:gd name="connsiteY7" fmla="*/ 2843053 h 2844000"/>
                <a:gd name="connsiteX8" fmla="*/ 1418785 w 2836652"/>
                <a:gd name="connsiteY8" fmla="*/ 2844000 h 2844000"/>
                <a:gd name="connsiteX9" fmla="*/ 1265558 w 2836652"/>
                <a:gd name="connsiteY9" fmla="*/ 2835841 h 2844000"/>
                <a:gd name="connsiteX10" fmla="*/ 1166585 w 2836652"/>
                <a:gd name="connsiteY10" fmla="*/ 2819901 h 2844000"/>
                <a:gd name="connsiteX11" fmla="*/ 2611803 w 2836652"/>
                <a:gd name="connsiteY11" fmla="*/ 649925 h 2844000"/>
                <a:gd name="connsiteX12" fmla="*/ 2625925 w 2836652"/>
                <a:gd name="connsiteY12" fmla="*/ 670040 h 2844000"/>
                <a:gd name="connsiteX13" fmla="*/ 2716944 w 2836652"/>
                <a:gd name="connsiteY13" fmla="*/ 840735 h 2844000"/>
                <a:gd name="connsiteX14" fmla="*/ 2718971 w 2836652"/>
                <a:gd name="connsiteY14" fmla="*/ 846248 h 2844000"/>
                <a:gd name="connsiteX15" fmla="*/ 917377 w 2836652"/>
                <a:gd name="connsiteY15" fmla="*/ 2751106 h 2844000"/>
                <a:gd name="connsiteX16" fmla="*/ 837521 w 2836652"/>
                <a:gd name="connsiteY16" fmla="*/ 2720160 h 2844000"/>
                <a:gd name="connsiteX17" fmla="*/ 713705 w 2836652"/>
                <a:gd name="connsiteY17" fmla="*/ 2656817 h 2844000"/>
                <a:gd name="connsiteX18" fmla="*/ 2316702 w 2836652"/>
                <a:gd name="connsiteY18" fmla="*/ 320018 h 2844000"/>
                <a:gd name="connsiteX19" fmla="*/ 2323309 w 2836652"/>
                <a:gd name="connsiteY19" fmla="*/ 324716 h 2844000"/>
                <a:gd name="connsiteX20" fmla="*/ 2436281 w 2836652"/>
                <a:gd name="connsiteY20" fmla="*/ 428628 h 2844000"/>
                <a:gd name="connsiteX21" fmla="*/ 2470218 w 2836652"/>
                <a:gd name="connsiteY21" fmla="*/ 467338 h 2844000"/>
                <a:gd name="connsiteX22" fmla="*/ 524088 w 2836652"/>
                <a:gd name="connsiteY22" fmla="*/ 2525015 h 2844000"/>
                <a:gd name="connsiteX23" fmla="*/ 474563 w 2836652"/>
                <a:gd name="connsiteY23" fmla="*/ 2485283 h 2844000"/>
                <a:gd name="connsiteX24" fmla="*/ 371952 w 2836652"/>
                <a:gd name="connsiteY24" fmla="*/ 2384417 h 2844000"/>
                <a:gd name="connsiteX25" fmla="*/ 368400 w 2836652"/>
                <a:gd name="connsiteY25" fmla="*/ 2379992 h 2844000"/>
                <a:gd name="connsiteX26" fmla="*/ 1923462 w 2836652"/>
                <a:gd name="connsiteY26" fmla="*/ 93876 h 2844000"/>
                <a:gd name="connsiteX27" fmla="*/ 1972292 w 2836652"/>
                <a:gd name="connsiteY27" fmla="*/ 111748 h 2844000"/>
                <a:gd name="connsiteX28" fmla="*/ 2125317 w 2836652"/>
                <a:gd name="connsiteY28" fmla="*/ 190086 h 2844000"/>
                <a:gd name="connsiteX29" fmla="*/ 228354 w 2836652"/>
                <a:gd name="connsiteY29" fmla="*/ 2195778 h 2844000"/>
                <a:gd name="connsiteX30" fmla="*/ 152351 w 2836652"/>
                <a:gd name="connsiteY30" fmla="*/ 2069368 h 2844000"/>
                <a:gd name="connsiteX31" fmla="*/ 120718 w 2836652"/>
                <a:gd name="connsiteY31" fmla="*/ 1999949 h 2844000"/>
                <a:gd name="connsiteX32" fmla="*/ 1041461 w 2836652"/>
                <a:gd name="connsiteY32" fmla="*/ 52222 h 2844000"/>
                <a:gd name="connsiteX33" fmla="*/ 28920 w 2836652"/>
                <a:gd name="connsiteY33" fmla="*/ 1122800 h 2844000"/>
                <a:gd name="connsiteX34" fmla="*/ 60716 w 2836652"/>
                <a:gd name="connsiteY34" fmla="*/ 999141 h 2844000"/>
                <a:gd name="connsiteX35" fmla="*/ 995926 w 2836652"/>
                <a:gd name="connsiteY35" fmla="*/ 63930 h 2844000"/>
                <a:gd name="connsiteX36" fmla="*/ 1418785 w 2836652"/>
                <a:gd name="connsiteY36" fmla="*/ 0 h 2844000"/>
                <a:gd name="connsiteX37" fmla="*/ 1564176 w 2836652"/>
                <a:gd name="connsiteY37" fmla="*/ 7342 h 2844000"/>
                <a:gd name="connsiteX38" fmla="*/ 1675030 w 2836652"/>
                <a:gd name="connsiteY38" fmla="*/ 24260 h 2844000"/>
                <a:gd name="connsiteX39" fmla="*/ 37665 w 2836652"/>
                <a:gd name="connsiteY39" fmla="*/ 1755475 h 2844000"/>
                <a:gd name="connsiteX40" fmla="*/ 23926 w 2836652"/>
                <a:gd name="connsiteY40" fmla="*/ 1699895 h 2844000"/>
                <a:gd name="connsiteX41" fmla="*/ 4127 w 2836652"/>
                <a:gd name="connsiteY41" fmla="*/ 1567391 h 2844000"/>
                <a:gd name="connsiteX42" fmla="*/ 0 w 2836652"/>
                <a:gd name="connsiteY42" fmla="*/ 1485664 h 2844000"/>
                <a:gd name="connsiteX43" fmla="*/ 1404441 w 2836652"/>
                <a:gd name="connsiteY43" fmla="*/ 725 h 284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836652" h="2844000">
                  <a:moveTo>
                    <a:pt x="2807084" y="1727294"/>
                  </a:moveTo>
                  <a:lnTo>
                    <a:pt x="2776855" y="1844860"/>
                  </a:lnTo>
                  <a:cubicBezTo>
                    <a:pt x="2638361" y="2290130"/>
                    <a:pt x="2286915" y="2641576"/>
                    <a:pt x="1841645" y="2780070"/>
                  </a:cubicBezTo>
                  <a:lnTo>
                    <a:pt x="1801654" y="2790353"/>
                  </a:lnTo>
                  <a:close/>
                  <a:moveTo>
                    <a:pt x="2799360" y="1093539"/>
                  </a:moveTo>
                  <a:lnTo>
                    <a:pt x="2826362" y="1218703"/>
                  </a:lnTo>
                  <a:lnTo>
                    <a:pt x="2836652" y="1363744"/>
                  </a:lnTo>
                  <a:lnTo>
                    <a:pt x="1437536" y="2843053"/>
                  </a:lnTo>
                  <a:lnTo>
                    <a:pt x="1418785" y="2844000"/>
                  </a:lnTo>
                  <a:cubicBezTo>
                    <a:pt x="1367017" y="2844000"/>
                    <a:pt x="1315894" y="2841234"/>
                    <a:pt x="1265558" y="2835841"/>
                  </a:cubicBezTo>
                  <a:lnTo>
                    <a:pt x="1166585" y="2819901"/>
                  </a:lnTo>
                  <a:close/>
                  <a:moveTo>
                    <a:pt x="2611803" y="649925"/>
                  </a:moveTo>
                  <a:lnTo>
                    <a:pt x="2625925" y="670040"/>
                  </a:lnTo>
                  <a:cubicBezTo>
                    <a:pt x="2659968" y="724575"/>
                    <a:pt x="2690418" y="781584"/>
                    <a:pt x="2716944" y="840735"/>
                  </a:cubicBezTo>
                  <a:lnTo>
                    <a:pt x="2718971" y="846248"/>
                  </a:lnTo>
                  <a:lnTo>
                    <a:pt x="917377" y="2751106"/>
                  </a:lnTo>
                  <a:lnTo>
                    <a:pt x="837521" y="2720160"/>
                  </a:lnTo>
                  <a:lnTo>
                    <a:pt x="713705" y="2656817"/>
                  </a:lnTo>
                  <a:close/>
                  <a:moveTo>
                    <a:pt x="2316702" y="320018"/>
                  </a:moveTo>
                  <a:lnTo>
                    <a:pt x="2323309" y="324716"/>
                  </a:lnTo>
                  <a:cubicBezTo>
                    <a:pt x="2362814" y="357318"/>
                    <a:pt x="2400528" y="392012"/>
                    <a:pt x="2436281" y="428628"/>
                  </a:cubicBezTo>
                  <a:lnTo>
                    <a:pt x="2470218" y="467338"/>
                  </a:lnTo>
                  <a:lnTo>
                    <a:pt x="524088" y="2525015"/>
                  </a:lnTo>
                  <a:lnTo>
                    <a:pt x="474563" y="2485283"/>
                  </a:lnTo>
                  <a:cubicBezTo>
                    <a:pt x="438688" y="2453403"/>
                    <a:pt x="404438" y="2419734"/>
                    <a:pt x="371952" y="2384417"/>
                  </a:cubicBezTo>
                  <a:lnTo>
                    <a:pt x="368400" y="2379992"/>
                  </a:lnTo>
                  <a:close/>
                  <a:moveTo>
                    <a:pt x="1923462" y="93876"/>
                  </a:moveTo>
                  <a:lnTo>
                    <a:pt x="1972292" y="111748"/>
                  </a:lnTo>
                  <a:lnTo>
                    <a:pt x="2125317" y="190086"/>
                  </a:lnTo>
                  <a:lnTo>
                    <a:pt x="228354" y="2195778"/>
                  </a:lnTo>
                  <a:lnTo>
                    <a:pt x="152351" y="2069368"/>
                  </a:lnTo>
                  <a:lnTo>
                    <a:pt x="120718" y="1999949"/>
                  </a:lnTo>
                  <a:close/>
                  <a:moveTo>
                    <a:pt x="1041461" y="52222"/>
                  </a:moveTo>
                  <a:lnTo>
                    <a:pt x="28920" y="1122800"/>
                  </a:lnTo>
                  <a:lnTo>
                    <a:pt x="60716" y="999141"/>
                  </a:lnTo>
                  <a:cubicBezTo>
                    <a:pt x="199209" y="553870"/>
                    <a:pt x="550656" y="202424"/>
                    <a:pt x="995926" y="63930"/>
                  </a:cubicBezTo>
                  <a:close/>
                  <a:moveTo>
                    <a:pt x="1418785" y="0"/>
                  </a:moveTo>
                  <a:cubicBezTo>
                    <a:pt x="1467869" y="0"/>
                    <a:pt x="1516373" y="2487"/>
                    <a:pt x="1564176" y="7342"/>
                  </a:cubicBezTo>
                  <a:lnTo>
                    <a:pt x="1675030" y="24260"/>
                  </a:lnTo>
                  <a:lnTo>
                    <a:pt x="37665" y="1755475"/>
                  </a:lnTo>
                  <a:lnTo>
                    <a:pt x="23926" y="1699895"/>
                  </a:lnTo>
                  <a:cubicBezTo>
                    <a:pt x="15311" y="1656408"/>
                    <a:pt x="8678" y="1612207"/>
                    <a:pt x="4127" y="1567391"/>
                  </a:cubicBezTo>
                  <a:lnTo>
                    <a:pt x="0" y="1485664"/>
                  </a:lnTo>
                  <a:lnTo>
                    <a:pt x="1404441" y="72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813225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раздела свой вариа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9323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303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Прямоугольник 10"/>
          <p:cNvSpPr/>
          <p:nvPr/>
        </p:nvSpPr>
        <p:spPr bwMode="auto">
          <a:xfrm>
            <a:off x="0" y="0"/>
            <a:ext cx="7426800" cy="51435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58775" y="280251"/>
            <a:ext cx="6933411" cy="141269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z="5400" baseline="0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ЗАГОЛОВОК РАЗДЕЛ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26800" y="0"/>
            <a:ext cx="1717200" cy="17172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27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26800" y="1713150"/>
            <a:ext cx="1717200" cy="17172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28" name="Рисунок 3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426800" y="3426300"/>
            <a:ext cx="1717200" cy="17172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368853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67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40931" y="283237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Место (город)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Месяц Год</a:t>
            </a:r>
            <a:endParaRPr lang="ru-RU" dirty="0"/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392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grpSp>
        <p:nvGrpSpPr>
          <p:cNvPr id="3" name="Группа 2"/>
          <p:cNvGrpSpPr>
            <a:grpSpLocks noChangeAspect="1"/>
          </p:cNvGrpSpPr>
          <p:nvPr userDrawn="1"/>
        </p:nvGrpSpPr>
        <p:grpSpPr>
          <a:xfrm>
            <a:off x="5710499" y="3425398"/>
            <a:ext cx="1717200" cy="1718102"/>
            <a:chOff x="5493178" y="3425398"/>
            <a:chExt cx="1717200" cy="1718102"/>
          </a:xfrm>
        </p:grpSpPr>
        <p:sp>
          <p:nvSpPr>
            <p:cNvPr id="57" name="Прямоугольник 56"/>
            <p:cNvSpPr>
              <a:spLocks noChangeAspect="1"/>
            </p:cNvSpPr>
            <p:nvPr userDrawn="1"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>
              <a:spLocks noChangeAspect="1"/>
            </p:cNvSpPr>
            <p:nvPr userDrawn="1"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8" name="Группа 57"/>
          <p:cNvGrpSpPr>
            <a:grpSpLocks noChangeAspect="1"/>
          </p:cNvGrpSpPr>
          <p:nvPr userDrawn="1"/>
        </p:nvGrpSpPr>
        <p:grpSpPr>
          <a:xfrm>
            <a:off x="7427701" y="3426300"/>
            <a:ext cx="1716299" cy="1717200"/>
            <a:chOff x="6573600" y="0"/>
            <a:chExt cx="2570400" cy="2571750"/>
          </a:xfrm>
        </p:grpSpPr>
        <p:sp>
          <p:nvSpPr>
            <p:cNvPr id="59" name="Прямоугольник 58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Полилиния 59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9" name="Группа 8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0" name="Прямоугольник 8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1" name="Прямая соединительная линия 9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2" name="Группа 9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TextBox 10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942959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316735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10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40931" y="299295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03906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70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26800" y="3425398"/>
            <a:ext cx="1717200" cy="171810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3237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5398"/>
            <a:ext cx="7430397" cy="171810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8" name="Прямоугольник 57"/>
          <p:cNvSpPr>
            <a:spLocks noChangeAspect="1"/>
          </p:cNvSpPr>
          <p:nvPr userDrawn="1"/>
        </p:nvSpPr>
        <p:spPr bwMode="auto">
          <a:xfrm>
            <a:off x="7426800" y="1712699"/>
            <a:ext cx="1717200" cy="1718102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60" name="Группа 59"/>
          <p:cNvGrpSpPr>
            <a:grpSpLocks noChangeAspect="1"/>
          </p:cNvGrpSpPr>
          <p:nvPr userDrawn="1"/>
        </p:nvGrpSpPr>
        <p:grpSpPr>
          <a:xfrm>
            <a:off x="7427701" y="0"/>
            <a:ext cx="1716299" cy="1717200"/>
            <a:chOff x="6573600" y="0"/>
            <a:chExt cx="2570400" cy="2571750"/>
          </a:xfrm>
        </p:grpSpPr>
        <p:sp>
          <p:nvSpPr>
            <p:cNvPr id="61" name="Прямоугольник 60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2" name="Полилиния 61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9" name="Группа 8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0" name="Прямоугольник 8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1" name="Прямая соединительная линия 9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2" name="Группа 9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TextBox 10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97319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22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0986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62431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38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олилиния 28"/>
          <p:cNvSpPr>
            <a:spLocks noChangeAspect="1"/>
          </p:cNvSpPr>
          <p:nvPr userDrawn="1"/>
        </p:nvSpPr>
        <p:spPr bwMode="auto">
          <a:xfrm>
            <a:off x="3999600" y="0"/>
            <a:ext cx="5144400" cy="51444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4289"/>
            <a:ext cx="8462137" cy="2068893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06145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1937816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25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6255"/>
            <a:ext cx="6768592" cy="144448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24886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38475"/>
            <a:ext cx="859271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51600" y="3429900"/>
            <a:ext cx="3992400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717198" y="3429900"/>
            <a:ext cx="1717201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-1" y="3429900"/>
            <a:ext cx="1717200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3434398" y="3429900"/>
            <a:ext cx="1717202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TextBox 55"/>
          <p:cNvSpPr txBox="1"/>
          <p:nvPr userDrawn="1"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57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07298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62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8506"/>
            <a:ext cx="6768592" cy="144448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24886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38475"/>
            <a:ext cx="859271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51600" y="3429900"/>
            <a:ext cx="39924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6" name="TextBox 55"/>
          <p:cNvSpPr txBox="1"/>
          <p:nvPr userDrawn="1"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grpSp>
        <p:nvGrpSpPr>
          <p:cNvPr id="11" name="Группа 10"/>
          <p:cNvGrpSpPr>
            <a:grpSpLocks noChangeAspect="1"/>
          </p:cNvGrpSpPr>
          <p:nvPr userDrawn="1"/>
        </p:nvGrpSpPr>
        <p:grpSpPr>
          <a:xfrm>
            <a:off x="3434400" y="3425398"/>
            <a:ext cx="1717200" cy="1718102"/>
            <a:chOff x="3425397" y="3425398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 userDrawn="1"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" name="Кольцо 7"/>
            <p:cNvSpPr/>
            <p:nvPr userDrawn="1"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Кольцо 58"/>
            <p:cNvSpPr/>
            <p:nvPr userDrawn="1"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" name="Овал 8"/>
            <p:cNvSpPr/>
            <p:nvPr userDrawn="1"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2" name="Группа 1"/>
          <p:cNvGrpSpPr/>
          <p:nvPr userDrawn="1"/>
        </p:nvGrpSpPr>
        <p:grpSpPr>
          <a:xfrm>
            <a:off x="1717200" y="3425398"/>
            <a:ext cx="1717200" cy="1718102"/>
            <a:chOff x="7431300" y="1712699"/>
            <a:chExt cx="1717200" cy="1718102"/>
          </a:xfrm>
        </p:grpSpPr>
        <p:sp>
          <p:nvSpPr>
            <p:cNvPr id="60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2" name="Группа 61"/>
          <p:cNvGrpSpPr/>
          <p:nvPr userDrawn="1"/>
        </p:nvGrpSpPr>
        <p:grpSpPr>
          <a:xfrm>
            <a:off x="0" y="3425398"/>
            <a:ext cx="1717200" cy="1718102"/>
            <a:chOff x="7431300" y="1712699"/>
            <a:chExt cx="1717200" cy="1718102"/>
          </a:xfrm>
        </p:grpSpPr>
        <p:sp>
          <p:nvSpPr>
            <p:cNvPr id="63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4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7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92" name="Группа 91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3" name="Прямоугольник 92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4" name="Прямая соединительная линия 93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5" name="Группа 94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TextBox 110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2" name="TextBox 111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4" name="Прямоугольник 113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5" name="Прямоугольник 114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6" name="Прямоугольник 115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02359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831067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27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1954275"/>
            <a:ext cx="8462137" cy="1163488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863100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87505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40796" y="0"/>
            <a:ext cx="4003203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713599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3427197" y="0"/>
            <a:ext cx="1713601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pic>
        <p:nvPicPr>
          <p:cNvPr id="57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287520"/>
            <a:ext cx="1104679" cy="208800"/>
          </a:xfrm>
          <a:prstGeom prst="rect">
            <a:avLst/>
          </a:prstGeom>
        </p:spPr>
      </p:pic>
      <p:sp>
        <p:nvSpPr>
          <p:cNvPr id="58" name="TextBox 57"/>
          <p:cNvSpPr txBox="1"/>
          <p:nvPr userDrawn="1"/>
        </p:nvSpPr>
        <p:spPr>
          <a:xfrm>
            <a:off x="7543929" y="458052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3260267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6" name="Группа 85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7" name="Прямоугольник 8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8" name="Прямая соединительная линия 8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Группа 88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164820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72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1949554"/>
            <a:ext cx="8462137" cy="122651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863100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87505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40796" y="0"/>
            <a:ext cx="4003203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pic>
        <p:nvPicPr>
          <p:cNvPr id="57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287520"/>
            <a:ext cx="1104679" cy="208800"/>
          </a:xfrm>
          <a:prstGeom prst="rect">
            <a:avLst/>
          </a:prstGeom>
        </p:spPr>
      </p:pic>
      <p:sp>
        <p:nvSpPr>
          <p:cNvPr id="58" name="TextBox 57"/>
          <p:cNvSpPr txBox="1"/>
          <p:nvPr userDrawn="1"/>
        </p:nvSpPr>
        <p:spPr>
          <a:xfrm>
            <a:off x="7543929" y="458052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grpSp>
        <p:nvGrpSpPr>
          <p:cNvPr id="56" name="Группа 55"/>
          <p:cNvGrpSpPr>
            <a:grpSpLocks noChangeAspect="1"/>
          </p:cNvGrpSpPr>
          <p:nvPr userDrawn="1"/>
        </p:nvGrpSpPr>
        <p:grpSpPr>
          <a:xfrm>
            <a:off x="3423594" y="0"/>
            <a:ext cx="1717200" cy="1718102"/>
            <a:chOff x="3425397" y="3425398"/>
            <a:chExt cx="1717200" cy="1718102"/>
          </a:xfrm>
        </p:grpSpPr>
        <p:sp>
          <p:nvSpPr>
            <p:cNvPr id="59" name="Прямоугольник 58"/>
            <p:cNvSpPr>
              <a:spLocks noChangeAspect="1"/>
            </p:cNvSpPr>
            <p:nvPr userDrawn="1"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Кольцо 59"/>
            <p:cNvSpPr/>
            <p:nvPr userDrawn="1"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Кольцо 60"/>
            <p:cNvSpPr/>
            <p:nvPr userDrawn="1"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2" name="Овал 61"/>
            <p:cNvSpPr/>
            <p:nvPr userDrawn="1"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3" name="Группа 62"/>
          <p:cNvGrpSpPr/>
          <p:nvPr userDrawn="1"/>
        </p:nvGrpSpPr>
        <p:grpSpPr>
          <a:xfrm>
            <a:off x="1717200" y="0"/>
            <a:ext cx="1717200" cy="1718102"/>
            <a:chOff x="7431300" y="1712699"/>
            <a:chExt cx="1717200" cy="1718102"/>
          </a:xfrm>
        </p:grpSpPr>
        <p:sp>
          <p:nvSpPr>
            <p:cNvPr id="64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5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6" name="Группа 65"/>
          <p:cNvGrpSpPr/>
          <p:nvPr userDrawn="1"/>
        </p:nvGrpSpPr>
        <p:grpSpPr>
          <a:xfrm>
            <a:off x="0" y="0"/>
            <a:ext cx="1717200" cy="1718102"/>
            <a:chOff x="7431300" y="1712699"/>
            <a:chExt cx="1717200" cy="1718102"/>
          </a:xfrm>
        </p:grpSpPr>
        <p:sp>
          <p:nvSpPr>
            <p:cNvPr id="67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8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260267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97" name="Группа 9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8" name="Прямоугольник 9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9" name="Прямая соединительная линия 9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100" name="Группа 9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101" name="Прямоугольник 10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4" name="Прямоугольник 11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5" name="Прямоугольник 11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6" name="TextBox 115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7" name="TextBox 11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8" name="Прямоугольник 11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9" name="Прямоугольник 11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0" name="Прямоугольник 11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1" name="Прямоугольник 12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319184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376976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29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9295"/>
            <a:ext cx="577291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202935"/>
            <a:ext cx="995680" cy="345810"/>
          </a:xfrm>
          <a:prstGeom prst="rect">
            <a:avLst/>
          </a:prstGeom>
          <a:effectLst/>
        </p:spPr>
        <p:txBody>
          <a:bodyPr/>
          <a:lstStyle>
            <a:lvl1pPr algn="r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Город</a:t>
            </a:r>
          </a:p>
          <a:p>
            <a:pPr lvl="0"/>
            <a:r>
              <a:rPr lang="ru-RU" dirty="0" smtClean="0"/>
              <a:t>Год</a:t>
            </a:r>
            <a:endParaRPr lang="ru-RU" dirty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75" y="431274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265559" y="460574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112" name="Группа 111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113" name="Прямоугольник 112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14" name="Прямая соединительная линия 113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115" name="Группа 114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116" name="Прямоугольник 115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7" name="Прямоугольник 116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118" name="Прямоугольник 117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119" name="Прямоугольник 118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120" name="Прямоугольник 119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121" name="Прямоугольник 120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122" name="Прямоугольник 121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3" name="Прямоугольник 122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4" name="Прямоугольник 123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25" name="Прямоугольник 124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6" name="Прямоугольник 125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7" name="Прямоугольник 126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28" name="Прямоугольник 127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9" name="Прямоугольник 128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0" name="Прямоугольник 129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1" name="TextBox 130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2" name="TextBox 131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3" name="Прямоугольник 132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4" name="Прямоугольник 133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5" name="Прямоугольник 134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6" name="Прямоугольник 135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8308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74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314169"/>
            <a:ext cx="577291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202935"/>
            <a:ext cx="995680" cy="345810"/>
          </a:xfrm>
          <a:prstGeom prst="rect">
            <a:avLst/>
          </a:prstGeom>
          <a:effectLst/>
        </p:spPr>
        <p:txBody>
          <a:bodyPr/>
          <a:lstStyle>
            <a:lvl1pPr algn="r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Город</a:t>
            </a:r>
          </a:p>
          <a:p>
            <a:pPr lvl="0"/>
            <a:r>
              <a:rPr lang="ru-RU" dirty="0" smtClean="0"/>
              <a:t>Год</a:t>
            </a:r>
            <a:endParaRPr lang="ru-RU" dirty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75" y="431274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265559" y="460574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grpSp>
        <p:nvGrpSpPr>
          <p:cNvPr id="56" name="Группа 55"/>
          <p:cNvGrpSpPr>
            <a:grpSpLocks noChangeAspect="1"/>
          </p:cNvGrpSpPr>
          <p:nvPr userDrawn="1"/>
        </p:nvGrpSpPr>
        <p:grpSpPr>
          <a:xfrm>
            <a:off x="7431300" y="1712699"/>
            <a:ext cx="1717200" cy="1718102"/>
            <a:chOff x="7431300" y="1712699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0" name="Полилиния 59"/>
          <p:cNvSpPr>
            <a:spLocks noChangeAspect="1"/>
          </p:cNvSpPr>
          <p:nvPr userDrawn="1"/>
        </p:nvSpPr>
        <p:spPr bwMode="auto">
          <a:xfrm>
            <a:off x="7431304" y="0"/>
            <a:ext cx="1712696" cy="1713600"/>
          </a:xfrm>
          <a:custGeom>
            <a:avLst/>
            <a:gdLst>
              <a:gd name="connsiteX0" fmla="*/ 1712696 w 1712696"/>
              <a:gd name="connsiteY0" fmla="*/ 1664380 h 1713600"/>
              <a:gd name="connsiteX1" fmla="*/ 1712696 w 1712696"/>
              <a:gd name="connsiteY1" fmla="*/ 1713600 h 1713600"/>
              <a:gd name="connsiteX2" fmla="*/ 1666083 w 1712696"/>
              <a:gd name="connsiteY2" fmla="*/ 1713600 h 1713600"/>
              <a:gd name="connsiteX3" fmla="*/ 1712696 w 1712696"/>
              <a:gd name="connsiteY3" fmla="*/ 1277272 h 1713600"/>
              <a:gd name="connsiteX4" fmla="*/ 1712696 w 1712696"/>
              <a:gd name="connsiteY4" fmla="*/ 1476393 h 1713600"/>
              <a:gd name="connsiteX5" fmla="*/ 1488054 w 1712696"/>
              <a:gd name="connsiteY5" fmla="*/ 1713600 h 1713600"/>
              <a:gd name="connsiteX6" fmla="*/ 1299480 w 1712696"/>
              <a:gd name="connsiteY6" fmla="*/ 1713600 h 1713600"/>
              <a:gd name="connsiteX7" fmla="*/ 1712696 w 1712696"/>
              <a:gd name="connsiteY7" fmla="*/ 890163 h 1713600"/>
              <a:gd name="connsiteX8" fmla="*/ 1712696 w 1712696"/>
              <a:gd name="connsiteY8" fmla="*/ 1089285 h 1713600"/>
              <a:gd name="connsiteX9" fmla="*/ 1121451 w 1712696"/>
              <a:gd name="connsiteY9" fmla="*/ 1713600 h 1713600"/>
              <a:gd name="connsiteX10" fmla="*/ 932877 w 1712696"/>
              <a:gd name="connsiteY10" fmla="*/ 1713600 h 1713600"/>
              <a:gd name="connsiteX11" fmla="*/ 1712696 w 1712696"/>
              <a:gd name="connsiteY11" fmla="*/ 503055 h 1713600"/>
              <a:gd name="connsiteX12" fmla="*/ 1712696 w 1712696"/>
              <a:gd name="connsiteY12" fmla="*/ 702177 h 1713600"/>
              <a:gd name="connsiteX13" fmla="*/ 754848 w 1712696"/>
              <a:gd name="connsiteY13" fmla="*/ 1713600 h 1713600"/>
              <a:gd name="connsiteX14" fmla="*/ 566274 w 1712696"/>
              <a:gd name="connsiteY14" fmla="*/ 1713600 h 1713600"/>
              <a:gd name="connsiteX15" fmla="*/ 1712696 w 1712696"/>
              <a:gd name="connsiteY15" fmla="*/ 115947 h 1713600"/>
              <a:gd name="connsiteX16" fmla="*/ 1712696 w 1712696"/>
              <a:gd name="connsiteY16" fmla="*/ 315069 h 1713600"/>
              <a:gd name="connsiteX17" fmla="*/ 388245 w 1712696"/>
              <a:gd name="connsiteY17" fmla="*/ 1713600 h 1713600"/>
              <a:gd name="connsiteX18" fmla="*/ 199671 w 1712696"/>
              <a:gd name="connsiteY18" fmla="*/ 1713600 h 1713600"/>
              <a:gd name="connsiteX19" fmla="*/ 0 w 1712696"/>
              <a:gd name="connsiteY19" fmla="*/ 0 h 1713600"/>
              <a:gd name="connsiteX20" fmla="*/ 1712696 w 1712696"/>
              <a:gd name="connsiteY20" fmla="*/ 0 h 1713600"/>
              <a:gd name="connsiteX21" fmla="*/ 1712696 w 1712696"/>
              <a:gd name="connsiteY21" fmla="*/ 1801 h 1713600"/>
              <a:gd name="connsiteX22" fmla="*/ 1642767 w 1712696"/>
              <a:gd name="connsiteY22" fmla="*/ 1801 h 1713600"/>
              <a:gd name="connsiteX23" fmla="*/ 21642 w 1712696"/>
              <a:gd name="connsiteY23" fmla="*/ 1713600 h 1713600"/>
              <a:gd name="connsiteX24" fmla="*/ 0 w 1712696"/>
              <a:gd name="connsiteY24" fmla="*/ 1713600 h 1713600"/>
              <a:gd name="connsiteX25" fmla="*/ 0 w 1712696"/>
              <a:gd name="connsiteY25" fmla="*/ 1537331 h 1713600"/>
              <a:gd name="connsiteX26" fmla="*/ 1454193 w 1712696"/>
              <a:gd name="connsiteY26" fmla="*/ 1801 h 1713600"/>
              <a:gd name="connsiteX27" fmla="*/ 1276164 w 1712696"/>
              <a:gd name="connsiteY27" fmla="*/ 1801 h 1713600"/>
              <a:gd name="connsiteX28" fmla="*/ 0 w 1712696"/>
              <a:gd name="connsiteY28" fmla="*/ 1349344 h 1713600"/>
              <a:gd name="connsiteX29" fmla="*/ 0 w 1712696"/>
              <a:gd name="connsiteY29" fmla="*/ 1150223 h 1713600"/>
              <a:gd name="connsiteX30" fmla="*/ 1087590 w 1712696"/>
              <a:gd name="connsiteY30" fmla="*/ 1801 h 1713600"/>
              <a:gd name="connsiteX31" fmla="*/ 909561 w 1712696"/>
              <a:gd name="connsiteY31" fmla="*/ 1801 h 1713600"/>
              <a:gd name="connsiteX32" fmla="*/ 0 w 1712696"/>
              <a:gd name="connsiteY32" fmla="*/ 962236 h 1713600"/>
              <a:gd name="connsiteX33" fmla="*/ 0 w 1712696"/>
              <a:gd name="connsiteY33" fmla="*/ 763115 h 1713600"/>
              <a:gd name="connsiteX34" fmla="*/ 720987 w 1712696"/>
              <a:gd name="connsiteY34" fmla="*/ 1801 h 1713600"/>
              <a:gd name="connsiteX35" fmla="*/ 542958 w 1712696"/>
              <a:gd name="connsiteY35" fmla="*/ 1801 h 1713600"/>
              <a:gd name="connsiteX36" fmla="*/ 0 w 1712696"/>
              <a:gd name="connsiteY36" fmla="*/ 575128 h 1713600"/>
              <a:gd name="connsiteX37" fmla="*/ 0 w 1712696"/>
              <a:gd name="connsiteY37" fmla="*/ 376007 h 1713600"/>
              <a:gd name="connsiteX38" fmla="*/ 354384 w 1712696"/>
              <a:gd name="connsiteY38" fmla="*/ 1801 h 1713600"/>
              <a:gd name="connsiteX39" fmla="*/ 176355 w 1712696"/>
              <a:gd name="connsiteY39" fmla="*/ 1801 h 1713600"/>
              <a:gd name="connsiteX40" fmla="*/ 0 w 1712696"/>
              <a:gd name="connsiteY40" fmla="*/ 188020 h 171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1712696" h="1713600">
                <a:moveTo>
                  <a:pt x="1712696" y="1664380"/>
                </a:moveTo>
                <a:lnTo>
                  <a:pt x="1712696" y="1713600"/>
                </a:lnTo>
                <a:lnTo>
                  <a:pt x="1666083" y="1713600"/>
                </a:lnTo>
                <a:close/>
                <a:moveTo>
                  <a:pt x="1712696" y="1277272"/>
                </a:moveTo>
                <a:lnTo>
                  <a:pt x="1712696" y="1476393"/>
                </a:lnTo>
                <a:lnTo>
                  <a:pt x="1488054" y="1713600"/>
                </a:lnTo>
                <a:lnTo>
                  <a:pt x="1299480" y="1713600"/>
                </a:lnTo>
                <a:close/>
                <a:moveTo>
                  <a:pt x="1712696" y="890163"/>
                </a:moveTo>
                <a:lnTo>
                  <a:pt x="1712696" y="1089285"/>
                </a:lnTo>
                <a:lnTo>
                  <a:pt x="1121451" y="1713600"/>
                </a:lnTo>
                <a:lnTo>
                  <a:pt x="932877" y="1713600"/>
                </a:lnTo>
                <a:close/>
                <a:moveTo>
                  <a:pt x="1712696" y="503055"/>
                </a:moveTo>
                <a:lnTo>
                  <a:pt x="1712696" y="702177"/>
                </a:lnTo>
                <a:lnTo>
                  <a:pt x="754848" y="1713600"/>
                </a:lnTo>
                <a:lnTo>
                  <a:pt x="566274" y="1713600"/>
                </a:lnTo>
                <a:close/>
                <a:moveTo>
                  <a:pt x="1712696" y="115947"/>
                </a:moveTo>
                <a:lnTo>
                  <a:pt x="1712696" y="315069"/>
                </a:lnTo>
                <a:lnTo>
                  <a:pt x="388245" y="1713600"/>
                </a:lnTo>
                <a:lnTo>
                  <a:pt x="199671" y="1713600"/>
                </a:lnTo>
                <a:close/>
                <a:moveTo>
                  <a:pt x="0" y="0"/>
                </a:moveTo>
                <a:lnTo>
                  <a:pt x="1712696" y="0"/>
                </a:lnTo>
                <a:lnTo>
                  <a:pt x="1712696" y="1801"/>
                </a:lnTo>
                <a:lnTo>
                  <a:pt x="1642767" y="1801"/>
                </a:lnTo>
                <a:lnTo>
                  <a:pt x="21642" y="1713600"/>
                </a:lnTo>
                <a:lnTo>
                  <a:pt x="0" y="1713600"/>
                </a:lnTo>
                <a:lnTo>
                  <a:pt x="0" y="1537331"/>
                </a:lnTo>
                <a:lnTo>
                  <a:pt x="1454193" y="1801"/>
                </a:lnTo>
                <a:lnTo>
                  <a:pt x="1276164" y="1801"/>
                </a:lnTo>
                <a:lnTo>
                  <a:pt x="0" y="1349344"/>
                </a:lnTo>
                <a:lnTo>
                  <a:pt x="0" y="1150223"/>
                </a:lnTo>
                <a:lnTo>
                  <a:pt x="1087590" y="1801"/>
                </a:lnTo>
                <a:lnTo>
                  <a:pt x="909561" y="1801"/>
                </a:lnTo>
                <a:lnTo>
                  <a:pt x="0" y="962236"/>
                </a:lnTo>
                <a:lnTo>
                  <a:pt x="0" y="763115"/>
                </a:lnTo>
                <a:lnTo>
                  <a:pt x="720987" y="1801"/>
                </a:lnTo>
                <a:lnTo>
                  <a:pt x="542958" y="1801"/>
                </a:lnTo>
                <a:lnTo>
                  <a:pt x="0" y="575128"/>
                </a:lnTo>
                <a:lnTo>
                  <a:pt x="0" y="376007"/>
                </a:lnTo>
                <a:lnTo>
                  <a:pt x="354384" y="1801"/>
                </a:lnTo>
                <a:lnTo>
                  <a:pt x="176355" y="1801"/>
                </a:lnTo>
                <a:lnTo>
                  <a:pt x="0" y="188020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9" name="Группа 8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0" name="Прямоугольник 8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1" name="Прямая соединительная линия 9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2" name="Группа 9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TextBox 10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377378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242639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34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9295"/>
            <a:ext cx="577291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202935"/>
            <a:ext cx="995680" cy="345810"/>
          </a:xfrm>
          <a:prstGeom prst="rect">
            <a:avLst/>
          </a:prstGeom>
          <a:effectLst/>
        </p:spPr>
        <p:txBody>
          <a:bodyPr/>
          <a:lstStyle>
            <a:lvl1pPr algn="r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Город</a:t>
            </a:r>
          </a:p>
          <a:p>
            <a:pPr lvl="0"/>
            <a:r>
              <a:rPr lang="ru-RU" dirty="0" smtClean="0"/>
              <a:t>Год</a:t>
            </a:r>
            <a:endParaRPr lang="ru-RU" dirty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4" name="Рисунок 3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430400" y="342990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75" y="431274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265559" y="460574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097717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314976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77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1270"/>
            <a:ext cx="5772912" cy="1473510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202935"/>
            <a:ext cx="995680" cy="345810"/>
          </a:xfrm>
          <a:prstGeom prst="rect">
            <a:avLst/>
          </a:prstGeom>
          <a:effectLst/>
        </p:spPr>
        <p:txBody>
          <a:bodyPr/>
          <a:lstStyle>
            <a:lvl1pPr algn="r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Город</a:t>
            </a:r>
          </a:p>
          <a:p>
            <a:pPr lvl="0"/>
            <a:r>
              <a:rPr lang="ru-RU" dirty="0" smtClean="0"/>
              <a:t>Год</a:t>
            </a:r>
            <a:endParaRPr lang="ru-RU" dirty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392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75" y="431274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265559" y="460574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grpSp>
        <p:nvGrpSpPr>
          <p:cNvPr id="56" name="Группа 55"/>
          <p:cNvGrpSpPr>
            <a:grpSpLocks noChangeAspect="1"/>
          </p:cNvGrpSpPr>
          <p:nvPr userDrawn="1"/>
        </p:nvGrpSpPr>
        <p:grpSpPr>
          <a:xfrm>
            <a:off x="7427701" y="0"/>
            <a:ext cx="1716299" cy="1717200"/>
            <a:chOff x="6573600" y="0"/>
            <a:chExt cx="2570400" cy="2571750"/>
          </a:xfrm>
        </p:grpSpPr>
        <p:sp>
          <p:nvSpPr>
            <p:cNvPr id="57" name="Прямоугольник 56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 userDrawn="1"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9" name="Группа 58"/>
          <p:cNvGrpSpPr>
            <a:grpSpLocks noChangeAspect="1"/>
          </p:cNvGrpSpPr>
          <p:nvPr userDrawn="1"/>
        </p:nvGrpSpPr>
        <p:grpSpPr>
          <a:xfrm>
            <a:off x="7426800" y="3425398"/>
            <a:ext cx="1721700" cy="1718102"/>
            <a:chOff x="7426800" y="1712699"/>
            <a:chExt cx="1721700" cy="1718102"/>
          </a:xfrm>
        </p:grpSpPr>
        <p:sp>
          <p:nvSpPr>
            <p:cNvPr id="60" name="Прямоугольник 57"/>
            <p:cNvSpPr>
              <a:spLocks noChangeAspect="1"/>
            </p:cNvSpPr>
            <p:nvPr userDrawn="1"/>
          </p:nvSpPr>
          <p:spPr bwMode="auto">
            <a:xfrm>
              <a:off x="74268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7" name="Группа 6"/>
          <p:cNvGrpSpPr/>
          <p:nvPr userDrawn="1"/>
        </p:nvGrpSpPr>
        <p:grpSpPr>
          <a:xfrm>
            <a:off x="7427701" y="1718100"/>
            <a:ext cx="1716299" cy="1717200"/>
            <a:chOff x="7427701" y="1718100"/>
            <a:chExt cx="1716299" cy="1717200"/>
          </a:xfrm>
        </p:grpSpPr>
        <p:sp>
          <p:nvSpPr>
            <p:cNvPr id="63" name="Прямоугольник 62"/>
            <p:cNvSpPr/>
            <p:nvPr userDrawn="1"/>
          </p:nvSpPr>
          <p:spPr bwMode="auto">
            <a:xfrm>
              <a:off x="7427701" y="1718100"/>
              <a:ext cx="1716299" cy="17172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70" name="Полилиния 69"/>
            <p:cNvSpPr/>
            <p:nvPr userDrawn="1"/>
          </p:nvSpPr>
          <p:spPr bwMode="auto">
            <a:xfrm>
              <a:off x="7427701" y="1718100"/>
              <a:ext cx="1716299" cy="1717200"/>
            </a:xfrm>
            <a:custGeom>
              <a:avLst/>
              <a:gdLst>
                <a:gd name="connsiteX0" fmla="*/ 0 w 1716299"/>
                <a:gd name="connsiteY0" fmla="*/ 1313726 h 1717200"/>
                <a:gd name="connsiteX1" fmla="*/ 402843 w 1716299"/>
                <a:gd name="connsiteY1" fmla="*/ 1717200 h 1717200"/>
                <a:gd name="connsiteX2" fmla="*/ 0 w 1716299"/>
                <a:gd name="connsiteY2" fmla="*/ 1717200 h 1717200"/>
                <a:gd name="connsiteX3" fmla="*/ 0 w 1716299"/>
                <a:gd name="connsiteY3" fmla="*/ 550698 h 1717200"/>
                <a:gd name="connsiteX4" fmla="*/ 1164676 w 1716299"/>
                <a:gd name="connsiteY4" fmla="*/ 1717200 h 1717200"/>
                <a:gd name="connsiteX5" fmla="*/ 748795 w 1716299"/>
                <a:gd name="connsiteY5" fmla="*/ 1717200 h 1717200"/>
                <a:gd name="connsiteX6" fmla="*/ 0 w 1716299"/>
                <a:gd name="connsiteY6" fmla="*/ 966900 h 1717200"/>
                <a:gd name="connsiteX7" fmla="*/ 1311613 w 1716299"/>
                <a:gd name="connsiteY7" fmla="*/ 0 h 1717200"/>
                <a:gd name="connsiteX8" fmla="*/ 1716299 w 1716299"/>
                <a:gd name="connsiteY8" fmla="*/ 0 h 1717200"/>
                <a:gd name="connsiteX9" fmla="*/ 1716299 w 1716299"/>
                <a:gd name="connsiteY9" fmla="*/ 405500 h 1717200"/>
                <a:gd name="connsiteX10" fmla="*/ 559772 w 1716299"/>
                <a:gd name="connsiteY10" fmla="*/ 0 h 1717200"/>
                <a:gd name="connsiteX11" fmla="*/ 964903 w 1716299"/>
                <a:gd name="connsiteY11" fmla="*/ 0 h 1717200"/>
                <a:gd name="connsiteX12" fmla="*/ 1716299 w 1716299"/>
                <a:gd name="connsiteY12" fmla="*/ 752574 h 1717200"/>
                <a:gd name="connsiteX13" fmla="*/ 1716299 w 1716299"/>
                <a:gd name="connsiteY13" fmla="*/ 1158853 h 1717200"/>
                <a:gd name="connsiteX14" fmla="*/ 0 w 1716299"/>
                <a:gd name="connsiteY14" fmla="*/ 0 h 1717200"/>
                <a:gd name="connsiteX15" fmla="*/ 213062 w 1716299"/>
                <a:gd name="connsiteY15" fmla="*/ 0 h 1717200"/>
                <a:gd name="connsiteX16" fmla="*/ 1716299 w 1716299"/>
                <a:gd name="connsiteY16" fmla="*/ 1505594 h 1717200"/>
                <a:gd name="connsiteX17" fmla="*/ 1716299 w 1716299"/>
                <a:gd name="connsiteY17" fmla="*/ 1717200 h 1717200"/>
                <a:gd name="connsiteX18" fmla="*/ 1510628 w 1716299"/>
                <a:gd name="connsiteY18" fmla="*/ 1717200 h 1717200"/>
                <a:gd name="connsiteX19" fmla="*/ 0 w 1716299"/>
                <a:gd name="connsiteY19" fmla="*/ 203535 h 171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6299" h="1717200">
                  <a:moveTo>
                    <a:pt x="0" y="1313726"/>
                  </a:moveTo>
                  <a:lnTo>
                    <a:pt x="402843" y="1717200"/>
                  </a:lnTo>
                  <a:lnTo>
                    <a:pt x="0" y="1717200"/>
                  </a:lnTo>
                  <a:close/>
                  <a:moveTo>
                    <a:pt x="0" y="550698"/>
                  </a:moveTo>
                  <a:lnTo>
                    <a:pt x="1164676" y="1717200"/>
                  </a:lnTo>
                  <a:lnTo>
                    <a:pt x="748795" y="1717200"/>
                  </a:lnTo>
                  <a:lnTo>
                    <a:pt x="0" y="966900"/>
                  </a:lnTo>
                  <a:close/>
                  <a:moveTo>
                    <a:pt x="1311613" y="0"/>
                  </a:moveTo>
                  <a:lnTo>
                    <a:pt x="1716299" y="0"/>
                  </a:lnTo>
                  <a:lnTo>
                    <a:pt x="1716299" y="405500"/>
                  </a:lnTo>
                  <a:close/>
                  <a:moveTo>
                    <a:pt x="559772" y="0"/>
                  </a:moveTo>
                  <a:lnTo>
                    <a:pt x="964903" y="0"/>
                  </a:lnTo>
                  <a:lnTo>
                    <a:pt x="1716299" y="752574"/>
                  </a:lnTo>
                  <a:lnTo>
                    <a:pt x="1716299" y="1158853"/>
                  </a:lnTo>
                  <a:close/>
                  <a:moveTo>
                    <a:pt x="0" y="0"/>
                  </a:moveTo>
                  <a:lnTo>
                    <a:pt x="213062" y="0"/>
                  </a:lnTo>
                  <a:lnTo>
                    <a:pt x="1716299" y="1505594"/>
                  </a:lnTo>
                  <a:lnTo>
                    <a:pt x="1716299" y="1717200"/>
                  </a:lnTo>
                  <a:lnTo>
                    <a:pt x="1510628" y="1717200"/>
                  </a:lnTo>
                  <a:lnTo>
                    <a:pt x="0" y="20353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2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119" name="Группа 11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120" name="Прямоугольник 11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21" name="Прямая соединительная линия 12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122" name="Группа 12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123" name="Прямоугольник 12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4" name="Прямоугольник 12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125" name="Прямоугольник 12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126" name="Прямоугольник 12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127" name="Прямоугольник 12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128" name="Прямоугольник 12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129" name="Прямоугольник 12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0" name="Прямоугольник 12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1" name="Прямоугольник 13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32" name="Прямоугольник 13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3" name="Прямоугольник 13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4" name="Прямоугольник 13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35" name="Прямоугольник 13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6" name="Прямоугольник 13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7" name="Прямоугольник 13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8" name="TextBox 13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9" name="TextBox 13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40" name="Прямоугольник 13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1" name="Прямоугольник 14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2" name="Прямоугольник 14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3" name="Прямоугольник 14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764392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32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9465"/>
            <a:ext cx="577291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202935"/>
            <a:ext cx="995680" cy="345810"/>
          </a:xfrm>
          <a:prstGeom prst="rect">
            <a:avLst/>
          </a:prstGeom>
          <a:effectLst/>
        </p:spPr>
        <p:txBody>
          <a:bodyPr/>
          <a:lstStyle>
            <a:lvl1pPr algn="r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Город</a:t>
            </a:r>
          </a:p>
          <a:p>
            <a:pPr lvl="0"/>
            <a:r>
              <a:rPr lang="ru-RU" dirty="0" smtClean="0"/>
              <a:t>Год</a:t>
            </a:r>
            <a:endParaRPr lang="ru-RU" dirty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pic>
        <p:nvPicPr>
          <p:cNvPr id="58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1026" y="417632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6" name="Группа 85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7" name="Прямоугольник 8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8" name="Прямая соединительная линия 8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Группа 88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43376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41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573596" cy="5143500"/>
          </a:xfr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7" name="Прямоугольник 56"/>
          <p:cNvSpPr/>
          <p:nvPr userDrawn="1"/>
        </p:nvSpPr>
        <p:spPr bwMode="auto">
          <a:xfrm>
            <a:off x="6573598" y="2571750"/>
            <a:ext cx="2570402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1666273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grpSp>
        <p:nvGrpSpPr>
          <p:cNvPr id="2" name="Группа 1"/>
          <p:cNvGrpSpPr/>
          <p:nvPr userDrawn="1"/>
        </p:nvGrpSpPr>
        <p:grpSpPr>
          <a:xfrm>
            <a:off x="6573598" y="0"/>
            <a:ext cx="2570400" cy="2571750"/>
            <a:chOff x="6573600" y="0"/>
            <a:chExt cx="2570400" cy="2571750"/>
          </a:xfrm>
        </p:grpSpPr>
        <p:sp>
          <p:nvSpPr>
            <p:cNvPr id="56" name="Прямоугольник 55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 userDrawn="1"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447133"/>
            <a:ext cx="5866765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7" name="Группа 8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8" name="Прямоугольник 8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9" name="Прямая соединительная линия 8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0" name="Группа 8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TextBox 10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269094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740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61257"/>
            <a:ext cx="8462137" cy="210192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5867320" y="470535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47264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3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444722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36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573598" cy="51435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54936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Команда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504892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4663714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6822535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4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517591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4676408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6835224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48569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бложка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034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9" y="305219"/>
            <a:ext cx="6859560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4" name="Группа 3"/>
          <p:cNvGrpSpPr>
            <a:grpSpLocks noChangeAspect="1"/>
          </p:cNvGrpSpPr>
          <p:nvPr userDrawn="1"/>
        </p:nvGrpSpPr>
        <p:grpSpPr>
          <a:xfrm>
            <a:off x="7426800" y="0"/>
            <a:ext cx="1717200" cy="1718102"/>
            <a:chOff x="3425397" y="3425398"/>
            <a:chExt cx="1717200" cy="1718102"/>
          </a:xfrm>
        </p:grpSpPr>
        <p:sp>
          <p:nvSpPr>
            <p:cNvPr id="5" name="Прямоугольник 4"/>
            <p:cNvSpPr>
              <a:spLocks noChangeAspect="1"/>
            </p:cNvSpPr>
            <p:nvPr userDrawn="1"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" name="Кольцо 5"/>
            <p:cNvSpPr/>
            <p:nvPr userDrawn="1"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" name="Кольцо 6"/>
            <p:cNvSpPr/>
            <p:nvPr userDrawn="1"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Овал 7"/>
            <p:cNvSpPr/>
            <p:nvPr userDrawn="1"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/>
          <p:nvPr userDrawn="1"/>
        </p:nvGrpSpPr>
        <p:grpSpPr>
          <a:xfrm>
            <a:off x="7426800" y="3425398"/>
            <a:ext cx="1717200" cy="1718102"/>
            <a:chOff x="7431300" y="1712699"/>
            <a:chExt cx="1717200" cy="1718102"/>
          </a:xfrm>
        </p:grpSpPr>
        <p:sp>
          <p:nvSpPr>
            <p:cNvPr id="10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" name="Группа 11"/>
          <p:cNvGrpSpPr/>
          <p:nvPr userDrawn="1"/>
        </p:nvGrpSpPr>
        <p:grpSpPr>
          <a:xfrm>
            <a:off x="7426800" y="1718100"/>
            <a:ext cx="1716299" cy="1717200"/>
            <a:chOff x="7427701" y="1718100"/>
            <a:chExt cx="1716299" cy="1717200"/>
          </a:xfrm>
        </p:grpSpPr>
        <p:sp>
          <p:nvSpPr>
            <p:cNvPr id="13" name="Прямоугольник 12"/>
            <p:cNvSpPr/>
            <p:nvPr userDrawn="1"/>
          </p:nvSpPr>
          <p:spPr bwMode="auto">
            <a:xfrm>
              <a:off x="7427701" y="1718100"/>
              <a:ext cx="1716299" cy="17172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олилиния 13"/>
            <p:cNvSpPr/>
            <p:nvPr userDrawn="1"/>
          </p:nvSpPr>
          <p:spPr bwMode="auto">
            <a:xfrm>
              <a:off x="7427701" y="1718100"/>
              <a:ext cx="1716299" cy="1717200"/>
            </a:xfrm>
            <a:custGeom>
              <a:avLst/>
              <a:gdLst>
                <a:gd name="connsiteX0" fmla="*/ 0 w 1716299"/>
                <a:gd name="connsiteY0" fmla="*/ 1313726 h 1717200"/>
                <a:gd name="connsiteX1" fmla="*/ 402843 w 1716299"/>
                <a:gd name="connsiteY1" fmla="*/ 1717200 h 1717200"/>
                <a:gd name="connsiteX2" fmla="*/ 0 w 1716299"/>
                <a:gd name="connsiteY2" fmla="*/ 1717200 h 1717200"/>
                <a:gd name="connsiteX3" fmla="*/ 0 w 1716299"/>
                <a:gd name="connsiteY3" fmla="*/ 550698 h 1717200"/>
                <a:gd name="connsiteX4" fmla="*/ 1164676 w 1716299"/>
                <a:gd name="connsiteY4" fmla="*/ 1717200 h 1717200"/>
                <a:gd name="connsiteX5" fmla="*/ 748795 w 1716299"/>
                <a:gd name="connsiteY5" fmla="*/ 1717200 h 1717200"/>
                <a:gd name="connsiteX6" fmla="*/ 0 w 1716299"/>
                <a:gd name="connsiteY6" fmla="*/ 966900 h 1717200"/>
                <a:gd name="connsiteX7" fmla="*/ 1311613 w 1716299"/>
                <a:gd name="connsiteY7" fmla="*/ 0 h 1717200"/>
                <a:gd name="connsiteX8" fmla="*/ 1716299 w 1716299"/>
                <a:gd name="connsiteY8" fmla="*/ 0 h 1717200"/>
                <a:gd name="connsiteX9" fmla="*/ 1716299 w 1716299"/>
                <a:gd name="connsiteY9" fmla="*/ 405500 h 1717200"/>
                <a:gd name="connsiteX10" fmla="*/ 559772 w 1716299"/>
                <a:gd name="connsiteY10" fmla="*/ 0 h 1717200"/>
                <a:gd name="connsiteX11" fmla="*/ 964903 w 1716299"/>
                <a:gd name="connsiteY11" fmla="*/ 0 h 1717200"/>
                <a:gd name="connsiteX12" fmla="*/ 1716299 w 1716299"/>
                <a:gd name="connsiteY12" fmla="*/ 752574 h 1717200"/>
                <a:gd name="connsiteX13" fmla="*/ 1716299 w 1716299"/>
                <a:gd name="connsiteY13" fmla="*/ 1158853 h 1717200"/>
                <a:gd name="connsiteX14" fmla="*/ 0 w 1716299"/>
                <a:gd name="connsiteY14" fmla="*/ 0 h 1717200"/>
                <a:gd name="connsiteX15" fmla="*/ 213062 w 1716299"/>
                <a:gd name="connsiteY15" fmla="*/ 0 h 1717200"/>
                <a:gd name="connsiteX16" fmla="*/ 1716299 w 1716299"/>
                <a:gd name="connsiteY16" fmla="*/ 1505594 h 1717200"/>
                <a:gd name="connsiteX17" fmla="*/ 1716299 w 1716299"/>
                <a:gd name="connsiteY17" fmla="*/ 1717200 h 1717200"/>
                <a:gd name="connsiteX18" fmla="*/ 1510628 w 1716299"/>
                <a:gd name="connsiteY18" fmla="*/ 1717200 h 1717200"/>
                <a:gd name="connsiteX19" fmla="*/ 0 w 1716299"/>
                <a:gd name="connsiteY19" fmla="*/ 203535 h 171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6299" h="1717200">
                  <a:moveTo>
                    <a:pt x="0" y="1313726"/>
                  </a:moveTo>
                  <a:lnTo>
                    <a:pt x="402843" y="1717200"/>
                  </a:lnTo>
                  <a:lnTo>
                    <a:pt x="0" y="1717200"/>
                  </a:lnTo>
                  <a:close/>
                  <a:moveTo>
                    <a:pt x="0" y="550698"/>
                  </a:moveTo>
                  <a:lnTo>
                    <a:pt x="1164676" y="1717200"/>
                  </a:lnTo>
                  <a:lnTo>
                    <a:pt x="748795" y="1717200"/>
                  </a:lnTo>
                  <a:lnTo>
                    <a:pt x="0" y="966900"/>
                  </a:lnTo>
                  <a:close/>
                  <a:moveTo>
                    <a:pt x="1311613" y="0"/>
                  </a:moveTo>
                  <a:lnTo>
                    <a:pt x="1716299" y="0"/>
                  </a:lnTo>
                  <a:lnTo>
                    <a:pt x="1716299" y="405500"/>
                  </a:lnTo>
                  <a:close/>
                  <a:moveTo>
                    <a:pt x="559772" y="0"/>
                  </a:moveTo>
                  <a:lnTo>
                    <a:pt x="964903" y="0"/>
                  </a:lnTo>
                  <a:lnTo>
                    <a:pt x="1716299" y="752574"/>
                  </a:lnTo>
                  <a:lnTo>
                    <a:pt x="1716299" y="1158853"/>
                  </a:lnTo>
                  <a:close/>
                  <a:moveTo>
                    <a:pt x="0" y="0"/>
                  </a:moveTo>
                  <a:lnTo>
                    <a:pt x="213062" y="0"/>
                  </a:lnTo>
                  <a:lnTo>
                    <a:pt x="1716299" y="1505594"/>
                  </a:lnTo>
                  <a:lnTo>
                    <a:pt x="1716299" y="1717200"/>
                  </a:lnTo>
                  <a:lnTo>
                    <a:pt x="1510628" y="1717200"/>
                  </a:lnTo>
                  <a:lnTo>
                    <a:pt x="0" y="20353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143704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 Дирекц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850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Прямоугольник 19"/>
          <p:cNvSpPr/>
          <p:nvPr/>
        </p:nvSpPr>
        <p:spPr bwMode="auto">
          <a:xfrm>
            <a:off x="0" y="0"/>
            <a:ext cx="7426800" cy="51435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58775" y="280251"/>
            <a:ext cx="6933411" cy="2119042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z="5400" baseline="0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 ДИРЕКЦИИ</a:t>
            </a:r>
            <a:br>
              <a:rPr lang="ru-RU" dirty="0" smtClean="0"/>
            </a:br>
            <a:r>
              <a:rPr lang="ru-RU" dirty="0" smtClean="0"/>
              <a:t>НАЗВАНИЕ ДИРЕКЦИ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0" name="Прямоугольник 29"/>
          <p:cNvSpPr/>
          <p:nvPr/>
        </p:nvSpPr>
        <p:spPr bwMode="auto">
          <a:xfrm>
            <a:off x="7427701" y="0"/>
            <a:ext cx="1716299" cy="17172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Прямоугольник 32"/>
          <p:cNvSpPr>
            <a:spLocks noChangeAspect="1"/>
          </p:cNvSpPr>
          <p:nvPr/>
        </p:nvSpPr>
        <p:spPr bwMode="auto">
          <a:xfrm>
            <a:off x="7426798" y="3426300"/>
            <a:ext cx="1717202" cy="1717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sz="1350" b="1">
              <a:latin typeface="Arial" charset="0"/>
            </a:endParaRPr>
          </a:p>
        </p:txBody>
      </p:sp>
      <p:grpSp>
        <p:nvGrpSpPr>
          <p:cNvPr id="16" name="Группа 15"/>
          <p:cNvGrpSpPr/>
          <p:nvPr/>
        </p:nvGrpSpPr>
        <p:grpSpPr>
          <a:xfrm>
            <a:off x="7426798" y="1713150"/>
            <a:ext cx="1716299" cy="1717200"/>
            <a:chOff x="7427701" y="1713150"/>
            <a:chExt cx="1716299" cy="1717200"/>
          </a:xfrm>
        </p:grpSpPr>
        <p:sp>
          <p:nvSpPr>
            <p:cNvPr id="17" name="Прямоугольник 16"/>
            <p:cNvSpPr/>
            <p:nvPr/>
          </p:nvSpPr>
          <p:spPr bwMode="auto">
            <a:xfrm>
              <a:off x="7427701" y="1713150"/>
              <a:ext cx="1716299" cy="171720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Полилиния 17"/>
            <p:cNvSpPr>
              <a:spLocks noChangeAspect="1"/>
            </p:cNvSpPr>
            <p:nvPr/>
          </p:nvSpPr>
          <p:spPr bwMode="auto">
            <a:xfrm>
              <a:off x="7427701" y="1716750"/>
              <a:ext cx="1712696" cy="1713600"/>
            </a:xfrm>
            <a:custGeom>
              <a:avLst/>
              <a:gdLst>
                <a:gd name="connsiteX0" fmla="*/ 1712696 w 1712696"/>
                <a:gd name="connsiteY0" fmla="*/ 1664380 h 1713600"/>
                <a:gd name="connsiteX1" fmla="*/ 1712696 w 1712696"/>
                <a:gd name="connsiteY1" fmla="*/ 1713600 h 1713600"/>
                <a:gd name="connsiteX2" fmla="*/ 1666083 w 1712696"/>
                <a:gd name="connsiteY2" fmla="*/ 1713600 h 1713600"/>
                <a:gd name="connsiteX3" fmla="*/ 1712696 w 1712696"/>
                <a:gd name="connsiteY3" fmla="*/ 1277272 h 1713600"/>
                <a:gd name="connsiteX4" fmla="*/ 1712696 w 1712696"/>
                <a:gd name="connsiteY4" fmla="*/ 1476393 h 1713600"/>
                <a:gd name="connsiteX5" fmla="*/ 1488054 w 1712696"/>
                <a:gd name="connsiteY5" fmla="*/ 1713600 h 1713600"/>
                <a:gd name="connsiteX6" fmla="*/ 1299480 w 1712696"/>
                <a:gd name="connsiteY6" fmla="*/ 1713600 h 1713600"/>
                <a:gd name="connsiteX7" fmla="*/ 1712696 w 1712696"/>
                <a:gd name="connsiteY7" fmla="*/ 890163 h 1713600"/>
                <a:gd name="connsiteX8" fmla="*/ 1712696 w 1712696"/>
                <a:gd name="connsiteY8" fmla="*/ 1089285 h 1713600"/>
                <a:gd name="connsiteX9" fmla="*/ 1121451 w 1712696"/>
                <a:gd name="connsiteY9" fmla="*/ 1713600 h 1713600"/>
                <a:gd name="connsiteX10" fmla="*/ 932877 w 1712696"/>
                <a:gd name="connsiteY10" fmla="*/ 1713600 h 1713600"/>
                <a:gd name="connsiteX11" fmla="*/ 1712696 w 1712696"/>
                <a:gd name="connsiteY11" fmla="*/ 503055 h 1713600"/>
                <a:gd name="connsiteX12" fmla="*/ 1712696 w 1712696"/>
                <a:gd name="connsiteY12" fmla="*/ 702177 h 1713600"/>
                <a:gd name="connsiteX13" fmla="*/ 754848 w 1712696"/>
                <a:gd name="connsiteY13" fmla="*/ 1713600 h 1713600"/>
                <a:gd name="connsiteX14" fmla="*/ 566274 w 1712696"/>
                <a:gd name="connsiteY14" fmla="*/ 1713600 h 1713600"/>
                <a:gd name="connsiteX15" fmla="*/ 1712696 w 1712696"/>
                <a:gd name="connsiteY15" fmla="*/ 115947 h 1713600"/>
                <a:gd name="connsiteX16" fmla="*/ 1712696 w 1712696"/>
                <a:gd name="connsiteY16" fmla="*/ 315069 h 1713600"/>
                <a:gd name="connsiteX17" fmla="*/ 388245 w 1712696"/>
                <a:gd name="connsiteY17" fmla="*/ 1713600 h 1713600"/>
                <a:gd name="connsiteX18" fmla="*/ 199671 w 1712696"/>
                <a:gd name="connsiteY18" fmla="*/ 1713600 h 1713600"/>
                <a:gd name="connsiteX19" fmla="*/ 0 w 1712696"/>
                <a:gd name="connsiteY19" fmla="*/ 0 h 1713600"/>
                <a:gd name="connsiteX20" fmla="*/ 1712696 w 1712696"/>
                <a:gd name="connsiteY20" fmla="*/ 0 h 1713600"/>
                <a:gd name="connsiteX21" fmla="*/ 1712696 w 1712696"/>
                <a:gd name="connsiteY21" fmla="*/ 1801 h 1713600"/>
                <a:gd name="connsiteX22" fmla="*/ 1642767 w 1712696"/>
                <a:gd name="connsiteY22" fmla="*/ 1801 h 1713600"/>
                <a:gd name="connsiteX23" fmla="*/ 21642 w 1712696"/>
                <a:gd name="connsiteY23" fmla="*/ 1713600 h 1713600"/>
                <a:gd name="connsiteX24" fmla="*/ 0 w 1712696"/>
                <a:gd name="connsiteY24" fmla="*/ 1713600 h 1713600"/>
                <a:gd name="connsiteX25" fmla="*/ 0 w 1712696"/>
                <a:gd name="connsiteY25" fmla="*/ 1537331 h 1713600"/>
                <a:gd name="connsiteX26" fmla="*/ 1454193 w 1712696"/>
                <a:gd name="connsiteY26" fmla="*/ 1801 h 1713600"/>
                <a:gd name="connsiteX27" fmla="*/ 1276164 w 1712696"/>
                <a:gd name="connsiteY27" fmla="*/ 1801 h 1713600"/>
                <a:gd name="connsiteX28" fmla="*/ 0 w 1712696"/>
                <a:gd name="connsiteY28" fmla="*/ 1349344 h 1713600"/>
                <a:gd name="connsiteX29" fmla="*/ 0 w 1712696"/>
                <a:gd name="connsiteY29" fmla="*/ 1150223 h 1713600"/>
                <a:gd name="connsiteX30" fmla="*/ 1087590 w 1712696"/>
                <a:gd name="connsiteY30" fmla="*/ 1801 h 1713600"/>
                <a:gd name="connsiteX31" fmla="*/ 909561 w 1712696"/>
                <a:gd name="connsiteY31" fmla="*/ 1801 h 1713600"/>
                <a:gd name="connsiteX32" fmla="*/ 0 w 1712696"/>
                <a:gd name="connsiteY32" fmla="*/ 962236 h 1713600"/>
                <a:gd name="connsiteX33" fmla="*/ 0 w 1712696"/>
                <a:gd name="connsiteY33" fmla="*/ 763115 h 1713600"/>
                <a:gd name="connsiteX34" fmla="*/ 720987 w 1712696"/>
                <a:gd name="connsiteY34" fmla="*/ 1801 h 1713600"/>
                <a:gd name="connsiteX35" fmla="*/ 542958 w 1712696"/>
                <a:gd name="connsiteY35" fmla="*/ 1801 h 1713600"/>
                <a:gd name="connsiteX36" fmla="*/ 0 w 1712696"/>
                <a:gd name="connsiteY36" fmla="*/ 575128 h 1713600"/>
                <a:gd name="connsiteX37" fmla="*/ 0 w 1712696"/>
                <a:gd name="connsiteY37" fmla="*/ 376007 h 1713600"/>
                <a:gd name="connsiteX38" fmla="*/ 354384 w 1712696"/>
                <a:gd name="connsiteY38" fmla="*/ 1801 h 1713600"/>
                <a:gd name="connsiteX39" fmla="*/ 176355 w 1712696"/>
                <a:gd name="connsiteY39" fmla="*/ 1801 h 1713600"/>
                <a:gd name="connsiteX40" fmla="*/ 0 w 1712696"/>
                <a:gd name="connsiteY40" fmla="*/ 18802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712696" h="1713600">
                  <a:moveTo>
                    <a:pt x="1712696" y="1664380"/>
                  </a:moveTo>
                  <a:lnTo>
                    <a:pt x="1712696" y="1713600"/>
                  </a:lnTo>
                  <a:lnTo>
                    <a:pt x="1666083" y="1713600"/>
                  </a:lnTo>
                  <a:close/>
                  <a:moveTo>
                    <a:pt x="1712696" y="1277272"/>
                  </a:moveTo>
                  <a:lnTo>
                    <a:pt x="1712696" y="1476393"/>
                  </a:lnTo>
                  <a:lnTo>
                    <a:pt x="1488054" y="1713600"/>
                  </a:lnTo>
                  <a:lnTo>
                    <a:pt x="1299480" y="1713600"/>
                  </a:lnTo>
                  <a:close/>
                  <a:moveTo>
                    <a:pt x="1712696" y="890163"/>
                  </a:moveTo>
                  <a:lnTo>
                    <a:pt x="1712696" y="1089285"/>
                  </a:lnTo>
                  <a:lnTo>
                    <a:pt x="1121451" y="1713600"/>
                  </a:lnTo>
                  <a:lnTo>
                    <a:pt x="932877" y="1713600"/>
                  </a:lnTo>
                  <a:close/>
                  <a:moveTo>
                    <a:pt x="1712696" y="503055"/>
                  </a:moveTo>
                  <a:lnTo>
                    <a:pt x="1712696" y="702177"/>
                  </a:lnTo>
                  <a:lnTo>
                    <a:pt x="754848" y="1713600"/>
                  </a:lnTo>
                  <a:lnTo>
                    <a:pt x="566274" y="1713600"/>
                  </a:lnTo>
                  <a:close/>
                  <a:moveTo>
                    <a:pt x="1712696" y="115947"/>
                  </a:moveTo>
                  <a:lnTo>
                    <a:pt x="1712696" y="315069"/>
                  </a:lnTo>
                  <a:lnTo>
                    <a:pt x="388245" y="1713600"/>
                  </a:lnTo>
                  <a:lnTo>
                    <a:pt x="199671" y="1713600"/>
                  </a:lnTo>
                  <a:close/>
                  <a:moveTo>
                    <a:pt x="0" y="0"/>
                  </a:moveTo>
                  <a:lnTo>
                    <a:pt x="1712696" y="0"/>
                  </a:lnTo>
                  <a:lnTo>
                    <a:pt x="1712696" y="1801"/>
                  </a:lnTo>
                  <a:lnTo>
                    <a:pt x="1642767" y="1801"/>
                  </a:lnTo>
                  <a:lnTo>
                    <a:pt x="21642" y="1713600"/>
                  </a:lnTo>
                  <a:lnTo>
                    <a:pt x="0" y="1713600"/>
                  </a:lnTo>
                  <a:lnTo>
                    <a:pt x="0" y="1537331"/>
                  </a:lnTo>
                  <a:lnTo>
                    <a:pt x="1454193" y="1801"/>
                  </a:lnTo>
                  <a:lnTo>
                    <a:pt x="1276164" y="1801"/>
                  </a:lnTo>
                  <a:lnTo>
                    <a:pt x="0" y="1349344"/>
                  </a:lnTo>
                  <a:lnTo>
                    <a:pt x="0" y="1150223"/>
                  </a:lnTo>
                  <a:lnTo>
                    <a:pt x="1087590" y="1801"/>
                  </a:lnTo>
                  <a:lnTo>
                    <a:pt x="909561" y="1801"/>
                  </a:lnTo>
                  <a:lnTo>
                    <a:pt x="0" y="962236"/>
                  </a:lnTo>
                  <a:lnTo>
                    <a:pt x="0" y="763115"/>
                  </a:lnTo>
                  <a:lnTo>
                    <a:pt x="720987" y="1801"/>
                  </a:lnTo>
                  <a:lnTo>
                    <a:pt x="542958" y="1801"/>
                  </a:lnTo>
                  <a:lnTo>
                    <a:pt x="0" y="575128"/>
                  </a:lnTo>
                  <a:lnTo>
                    <a:pt x="0" y="376007"/>
                  </a:lnTo>
                  <a:lnTo>
                    <a:pt x="354384" y="1801"/>
                  </a:lnTo>
                  <a:lnTo>
                    <a:pt x="176355" y="1801"/>
                  </a:lnTo>
                  <a:lnTo>
                    <a:pt x="0" y="18802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9" name="Группа 18"/>
          <p:cNvGrpSpPr>
            <a:grpSpLocks noChangeAspect="1"/>
          </p:cNvGrpSpPr>
          <p:nvPr/>
        </p:nvGrpSpPr>
        <p:grpSpPr>
          <a:xfrm>
            <a:off x="7426798" y="0"/>
            <a:ext cx="1716299" cy="1717200"/>
            <a:chOff x="6573600" y="0"/>
            <a:chExt cx="2570400" cy="2571750"/>
          </a:xfrm>
        </p:grpSpPr>
        <p:sp>
          <p:nvSpPr>
            <p:cNvPr id="22" name="Прямоугольник 21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24" name="Овал 23"/>
            <p:cNvSpPr/>
            <p:nvPr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565161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31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48348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48348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78874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34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29516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36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0634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0634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6559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938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93065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41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2158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2158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165213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143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25610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843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207289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23050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077856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46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29205" cy="67262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2920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51490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48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33052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450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0634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06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4572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616826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13277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53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4000" y="0"/>
            <a:ext cx="4572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0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417498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55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4444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444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45744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80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4" name="Рисунок 5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61008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47015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58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4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732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5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307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6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3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7" name="Рисунок 5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30571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90067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860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3048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616826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46841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962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54880" y="347883"/>
            <a:ext cx="403034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4754880" y="1131888"/>
            <a:ext cx="4030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4000" y="0"/>
            <a:ext cx="3048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0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69837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065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4567624" cy="30285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0940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5763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969725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98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6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18" hasCustomPrompt="1"/>
          </p:nvPr>
        </p:nvSpPr>
        <p:spPr>
          <a:xfrm>
            <a:off x="6098400" y="1518540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Прямоугольник 5"/>
          <p:cNvSpPr/>
          <p:nvPr userDrawn="1"/>
        </p:nvSpPr>
        <p:spPr bwMode="auto">
          <a:xfrm>
            <a:off x="7621200" y="0"/>
            <a:ext cx="1522800" cy="15228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7621200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Прямоугольник 17"/>
          <p:cNvSpPr/>
          <p:nvPr userDrawn="1"/>
        </p:nvSpPr>
        <p:spPr bwMode="auto">
          <a:xfrm>
            <a:off x="4575600" y="1518541"/>
            <a:ext cx="1522800" cy="15228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19"/>
          </p:nvPr>
        </p:nvSpPr>
        <p:spPr>
          <a:xfrm>
            <a:off x="7707337" y="3149601"/>
            <a:ext cx="1074058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20"/>
          </p:nvPr>
        </p:nvSpPr>
        <p:spPr>
          <a:xfrm>
            <a:off x="4737334" y="1659593"/>
            <a:ext cx="1242551" cy="1306286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21"/>
          </p:nvPr>
        </p:nvSpPr>
        <p:spPr>
          <a:xfrm>
            <a:off x="7707337" y="352871"/>
            <a:ext cx="1074058" cy="1086436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212872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945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олилиния 28"/>
          <p:cNvSpPr>
            <a:spLocks noChangeAspect="1"/>
          </p:cNvSpPr>
          <p:nvPr userDrawn="1"/>
        </p:nvSpPr>
        <p:spPr bwMode="auto">
          <a:xfrm>
            <a:off x="3999600" y="0"/>
            <a:ext cx="5144400" cy="51444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304800"/>
            <a:ext cx="8462137" cy="2058382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23050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33728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01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098400" y="0"/>
            <a:ext cx="3045600" cy="3045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6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Прямоугольник 5"/>
          <p:cNvSpPr/>
          <p:nvPr userDrawn="1"/>
        </p:nvSpPr>
        <p:spPr bwMode="auto">
          <a:xfrm>
            <a:off x="4576376" y="0"/>
            <a:ext cx="1522800" cy="304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7621200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18"/>
          </p:nvPr>
        </p:nvSpPr>
        <p:spPr>
          <a:xfrm>
            <a:off x="7707086" y="3149601"/>
            <a:ext cx="1074058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5" y="347884"/>
            <a:ext cx="1271579" cy="2554973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0419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803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3045600" cy="3045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098400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Прямоугольник 5"/>
          <p:cNvSpPr/>
          <p:nvPr userDrawn="1"/>
        </p:nvSpPr>
        <p:spPr bwMode="auto">
          <a:xfrm>
            <a:off x="7621200" y="0"/>
            <a:ext cx="1522800" cy="304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4576376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737335" y="3149601"/>
            <a:ext cx="1242551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7740490" y="347884"/>
            <a:ext cx="1044735" cy="2554973"/>
          </a:xfrm>
        </p:spPr>
        <p:txBody>
          <a:bodyPr lIns="0" tIns="0" rIns="0" bIns="0">
            <a:noAutofit/>
          </a:bodyPr>
          <a:lstStyle/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513754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 userDrawn="1"/>
        </p:nvSpPr>
        <p:spPr bwMode="auto">
          <a:xfrm>
            <a:off x="686018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 userDrawn="1"/>
        </p:nvSpPr>
        <p:spPr bwMode="auto">
          <a:xfrm>
            <a:off x="4576375" y="2276069"/>
            <a:ext cx="2283813" cy="228381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110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86018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4737335" y="2487904"/>
            <a:ext cx="1895694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7037284" y="347885"/>
            <a:ext cx="1747942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48948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 userDrawn="1"/>
        </p:nvSpPr>
        <p:spPr bwMode="auto">
          <a:xfrm>
            <a:off x="686018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 userDrawn="1"/>
        </p:nvSpPr>
        <p:spPr bwMode="auto">
          <a:xfrm>
            <a:off x="4576375" y="2276069"/>
            <a:ext cx="2283813" cy="228381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212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86018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4737335" y="2487904"/>
            <a:ext cx="1895694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7037284" y="347885"/>
            <a:ext cx="1747942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241888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 userDrawn="1"/>
        </p:nvSpPr>
        <p:spPr bwMode="auto">
          <a:xfrm>
            <a:off x="457637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 userDrawn="1"/>
        </p:nvSpPr>
        <p:spPr bwMode="auto">
          <a:xfrm>
            <a:off x="6860187" y="2276069"/>
            <a:ext cx="2283813" cy="228381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315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86018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7009515" y="2487904"/>
            <a:ext cx="1775710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4" y="347885"/>
            <a:ext cx="1945755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13741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 userDrawn="1"/>
        </p:nvSpPr>
        <p:spPr bwMode="auto">
          <a:xfrm>
            <a:off x="457637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 userDrawn="1"/>
        </p:nvSpPr>
        <p:spPr bwMode="auto">
          <a:xfrm>
            <a:off x="6860187" y="2276069"/>
            <a:ext cx="2283813" cy="228381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417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86018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7009515" y="2487904"/>
            <a:ext cx="1775710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4" y="347885"/>
            <a:ext cx="1945755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53841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905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8433201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2074376" y="2846281"/>
            <a:ext cx="25020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289976" y="2846281"/>
            <a:ext cx="25020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360776" y="2846281"/>
            <a:ext cx="17136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Прямоугольник 15"/>
          <p:cNvSpPr/>
          <p:nvPr userDrawn="1"/>
        </p:nvSpPr>
        <p:spPr bwMode="auto">
          <a:xfrm>
            <a:off x="4576376" y="2846281"/>
            <a:ext cx="17136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8"/>
          </p:nvPr>
        </p:nvSpPr>
        <p:spPr>
          <a:xfrm>
            <a:off x="4572000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19"/>
          </p:nvPr>
        </p:nvSpPr>
        <p:spPr>
          <a:xfrm>
            <a:off x="487953" y="2943671"/>
            <a:ext cx="149767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20"/>
          </p:nvPr>
        </p:nvSpPr>
        <p:spPr>
          <a:xfrm>
            <a:off x="4701178" y="2943671"/>
            <a:ext cx="149767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466376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008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8433201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60776" y="2846281"/>
            <a:ext cx="17136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1626" y="2846281"/>
            <a:ext cx="17136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2069626" y="2846281"/>
            <a:ext cx="25020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Прямоугольник 15"/>
          <p:cNvSpPr/>
          <p:nvPr userDrawn="1"/>
        </p:nvSpPr>
        <p:spPr bwMode="auto">
          <a:xfrm>
            <a:off x="6285226" y="2846281"/>
            <a:ext cx="25020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8"/>
          </p:nvPr>
        </p:nvSpPr>
        <p:spPr>
          <a:xfrm>
            <a:off x="4572000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19"/>
          </p:nvPr>
        </p:nvSpPr>
        <p:spPr>
          <a:xfrm>
            <a:off x="2212811" y="2957660"/>
            <a:ext cx="218646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20"/>
          </p:nvPr>
        </p:nvSpPr>
        <p:spPr>
          <a:xfrm>
            <a:off x="6442991" y="2957660"/>
            <a:ext cx="2186469" cy="1518818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6198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167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54880" y="347883"/>
            <a:ext cx="403034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4754880" y="1143388"/>
            <a:ext cx="4030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2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2460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920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048432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270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1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68400" y="3028563"/>
            <a:ext cx="457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228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56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6967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275814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7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16992" y="290286"/>
            <a:ext cx="5908549" cy="990709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61138" cy="2570351"/>
          </a:xfrm>
        </p:spPr>
        <p:txBody>
          <a:bodyPr/>
          <a:lstStyle/>
          <a:p>
            <a:endParaRPr lang="ru-RU"/>
          </a:p>
        </p:txBody>
      </p:sp>
      <p:grpSp>
        <p:nvGrpSpPr>
          <p:cNvPr id="60" name="Группа 59"/>
          <p:cNvGrpSpPr>
            <a:grpSpLocks noChangeAspect="1"/>
          </p:cNvGrpSpPr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 userDrawn="1"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7" name="Группа 8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8" name="Прямоугольник 8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9" name="Прямая соединительная линия 8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0" name="Группа 8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TextBox 10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44027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72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3028563"/>
            <a:ext cx="457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756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0984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212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01664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474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2800" y="3028563"/>
            <a:ext cx="76212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87664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77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-1200" y="3028563"/>
            <a:ext cx="76212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200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86359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ny contac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81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Прямоугольник 26"/>
          <p:cNvSpPr/>
          <p:nvPr userDrawn="1"/>
        </p:nvSpPr>
        <p:spPr bwMode="auto">
          <a:xfrm>
            <a:off x="0" y="1510917"/>
            <a:ext cx="9144000" cy="30404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baseline="0"/>
            </a:lvl1pPr>
          </a:lstStyle>
          <a:p>
            <a:r>
              <a:rPr lang="en-US" dirty="0" smtClean="0"/>
              <a:t>Company contacts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58773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</a:t>
            </a:r>
            <a:r>
              <a:rPr lang="en-US" dirty="0" smtClean="0"/>
              <a:t>code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www.sibur.ru</a:t>
            </a:r>
            <a:endParaRPr lang="ru-RU" dirty="0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6819429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 smtClean="0"/>
              <a:t>sibur_holding</a:t>
            </a:r>
            <a:endParaRPr lang="ru-RU" dirty="0"/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2512327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err="1" smtClean="0"/>
              <a:t>Телеграм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 smtClean="0"/>
              <a:t>siburforclients</a:t>
            </a:r>
            <a:endParaRPr lang="ru-RU" dirty="0"/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6819429" y="4267201"/>
            <a:ext cx="1692000" cy="2841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СИБУР </a:t>
            </a:r>
            <a:r>
              <a:rPr lang="ru-RU" dirty="0" err="1" smtClean="0"/>
              <a:t>Вконтакте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665877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СИБУР </a:t>
            </a:r>
            <a:r>
              <a:rPr lang="en-US" dirty="0" smtClean="0"/>
              <a:t>twitter</a:t>
            </a:r>
            <a:endParaRPr lang="ru-RU" dirty="0"/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2512327" y="2739581"/>
            <a:ext cx="1692000" cy="2841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Facebook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2" hasCustomPrompt="1"/>
          </p:nvPr>
        </p:nvSpPr>
        <p:spPr>
          <a:xfrm>
            <a:off x="4665877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YouTube</a:t>
            </a:r>
            <a:endParaRPr lang="ru-RU" dirty="0"/>
          </a:p>
        </p:txBody>
      </p:sp>
      <p:sp>
        <p:nvSpPr>
          <p:cNvPr id="18" name="Рисунок 6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2512325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</a:t>
            </a:r>
            <a:r>
              <a:rPr lang="en-US" dirty="0" smtClean="0"/>
              <a:t>code</a:t>
            </a:r>
            <a:endParaRPr lang="ru-RU" dirty="0"/>
          </a:p>
        </p:txBody>
      </p:sp>
      <p:sp>
        <p:nvSpPr>
          <p:cNvPr id="19" name="Рисунок 6"/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6819429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</a:t>
            </a:r>
            <a:r>
              <a:rPr lang="en-US" dirty="0" smtClean="0"/>
              <a:t>code</a:t>
            </a:r>
            <a:endParaRPr lang="ru-RU" dirty="0"/>
          </a:p>
        </p:txBody>
      </p:sp>
      <p:sp>
        <p:nvSpPr>
          <p:cNvPr id="20" name="Рисунок 6"/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4665877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</a:t>
            </a:r>
            <a:r>
              <a:rPr lang="en-US" dirty="0" smtClean="0"/>
              <a:t>code</a:t>
            </a:r>
            <a:endParaRPr lang="ru-RU" dirty="0"/>
          </a:p>
        </p:txBody>
      </p:sp>
      <p:sp>
        <p:nvSpPr>
          <p:cNvPr id="21" name="Рисунок 6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358773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</a:t>
            </a:r>
            <a:r>
              <a:rPr lang="en-US" dirty="0" smtClean="0"/>
              <a:t>code</a:t>
            </a:r>
            <a:endParaRPr lang="ru-RU" dirty="0"/>
          </a:p>
        </p:txBody>
      </p:sp>
      <p:sp>
        <p:nvSpPr>
          <p:cNvPr id="22" name="Рисунок 6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2512325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</a:t>
            </a:r>
            <a:r>
              <a:rPr lang="en-US" dirty="0" smtClean="0"/>
              <a:t>code</a:t>
            </a:r>
            <a:endParaRPr lang="ru-RU" dirty="0"/>
          </a:p>
        </p:txBody>
      </p:sp>
      <p:sp>
        <p:nvSpPr>
          <p:cNvPr id="23" name="Рисунок 6"/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6819429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</a:t>
            </a:r>
            <a:r>
              <a:rPr lang="en-US" dirty="0" smtClean="0"/>
              <a:t>code</a:t>
            </a:r>
            <a:endParaRPr lang="ru-RU" dirty="0"/>
          </a:p>
        </p:txBody>
      </p:sp>
      <p:sp>
        <p:nvSpPr>
          <p:cNvPr id="24" name="Рисунок 6"/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4665877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</a:t>
            </a:r>
            <a:r>
              <a:rPr lang="en-US" dirty="0" smtClean="0"/>
              <a:t>code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30" hasCustomPrompt="1"/>
          </p:nvPr>
        </p:nvSpPr>
        <p:spPr>
          <a:xfrm>
            <a:off x="358775" y="1131888"/>
            <a:ext cx="3960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Phone</a:t>
            </a:r>
            <a:r>
              <a:rPr lang="ru-RU" dirty="0" smtClean="0"/>
              <a:t>: +7 (495) 777-55-00; +7 (495) 780-55-00</a:t>
            </a:r>
            <a:endParaRPr lang="ru-RU" dirty="0"/>
          </a:p>
        </p:txBody>
      </p:sp>
      <p:sp>
        <p:nvSpPr>
          <p:cNvPr id="26" name="Текст 8"/>
          <p:cNvSpPr>
            <a:spLocks noGrp="1"/>
          </p:cNvSpPr>
          <p:nvPr>
            <p:ph type="body" sz="quarter" idx="31" hasCustomPrompt="1"/>
          </p:nvPr>
        </p:nvSpPr>
        <p:spPr>
          <a:xfrm>
            <a:off x="4665877" y="1131888"/>
            <a:ext cx="3960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E-mail: info@sibur.ru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175507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вобод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89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39625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87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417674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087973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53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99865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9239277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58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585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56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13000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18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5548540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657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472507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05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5902453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73598" cy="2570351"/>
          </a:xfrm>
        </p:spPr>
        <p:txBody>
          <a:bodyPr/>
          <a:lstStyle/>
          <a:p>
            <a:endParaRPr lang="ru-RU"/>
          </a:p>
        </p:txBody>
      </p:sp>
      <p:grpSp>
        <p:nvGrpSpPr>
          <p:cNvPr id="4" name="Группа 3"/>
          <p:cNvGrpSpPr>
            <a:grpSpLocks noChangeAspect="1"/>
          </p:cNvGrpSpPr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олилиния 58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6" name="Группа 85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7" name="Прямоугольник 8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8" name="Прямая соединительная линия 8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Группа 88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90090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20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556305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3005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22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5577569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3303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030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7447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132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97005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235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72894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25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88490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27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5196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19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84720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30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4068083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51542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22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403905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18925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60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5902453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73598" cy="2570351"/>
          </a:xfrm>
        </p:spPr>
        <p:txBody>
          <a:bodyPr/>
          <a:lstStyle/>
          <a:p>
            <a:endParaRPr lang="ru-RU"/>
          </a:p>
        </p:txBody>
      </p:sp>
      <p:grpSp>
        <p:nvGrpSpPr>
          <p:cNvPr id="2" name="Группа 1"/>
          <p:cNvGrpSpPr>
            <a:grpSpLocks noChangeAspect="1"/>
          </p:cNvGrpSpPr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/>
            <p:nvPr userDrawn="1"/>
          </p:nvSpPr>
          <p:spPr bwMode="auto">
            <a:xfrm>
              <a:off x="7858800" y="0"/>
              <a:ext cx="1285200" cy="257175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Прямоугольник 55"/>
            <p:cNvSpPr/>
            <p:nvPr userDrawn="1"/>
          </p:nvSpPr>
          <p:spPr bwMode="auto">
            <a:xfrm>
              <a:off x="6573600" y="0"/>
              <a:ext cx="1285200" cy="257175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59" name="Группа 5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60" name="Прямоугольник 5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62" name="Прямая соединительная линия 61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63" name="Группа 62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64" name="Прямоугольник 63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66" name="Прямоугольник 65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67" name="Прямоугольник 66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68" name="Прямоугольник 67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69" name="Прямоугольник 68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70" name="Прямоугольник 69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" name="Прямоугольник 70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2" name="Прямоугольник 71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3" name="Прямоугольник 72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4" name="Прямоугольник 73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Прямоугольник 74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6" name="Прямоугольник 75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7" name="Прямоугольник 76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" name="Прямоугольник 77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" name="TextBox 78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0" name="TextBox 79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1" name="Прямоугольник 80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17202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24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10026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2251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935691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32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41040" y="347883"/>
            <a:ext cx="554418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9842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2090482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34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30880" y="347883"/>
            <a:ext cx="555434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1631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9183916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37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41040" y="347883"/>
            <a:ext cx="554418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1191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6046823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39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91917" y="347883"/>
            <a:ext cx="403034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940650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464308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42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2018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5297726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82900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144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>
          <a:xfrm>
            <a:off x="358775" y="347883"/>
            <a:ext cx="4035425" cy="673100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20821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Команд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822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ru-RU" dirty="0" smtClean="0"/>
              <a:t>Контакты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0" y="1131888"/>
            <a:ext cx="3419475" cy="3419475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4061171" y="2064543"/>
            <a:ext cx="203483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695622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8528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563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ru-RU" dirty="0" smtClean="0"/>
              <a:t>Контакты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0" y="1131888"/>
            <a:ext cx="3419475" cy="3419475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4061171" y="2064543"/>
            <a:ext cx="203483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8557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1" y="1276063"/>
            <a:ext cx="1764000" cy="1764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4711696" y="1276063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2263771" y="1472242"/>
            <a:ext cx="2181229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6603996" y="1472242"/>
            <a:ext cx="2181229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71124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503289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08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9" y="290285"/>
            <a:ext cx="5902452" cy="937045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2573149"/>
            <a:ext cx="6573598" cy="2570351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47592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1" y="1131888"/>
            <a:ext cx="1764000" cy="1764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3371301" y="1131888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6301225" y="1131888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71471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3371301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6301225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702965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504892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4663714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6822535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4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517591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4676408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6835224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21779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016053" y="1131888"/>
            <a:ext cx="1368001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686036" y="1131888"/>
            <a:ext cx="1368001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5356019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9" name="Рисунок 18"/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7026000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4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028752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3698730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5368708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3" name="Текст 23"/>
          <p:cNvSpPr>
            <a:spLocks noGrp="1"/>
          </p:cNvSpPr>
          <p:nvPr>
            <p:ph type="body" sz="quarter" idx="47" hasCustomPrompt="1"/>
          </p:nvPr>
        </p:nvSpPr>
        <p:spPr>
          <a:xfrm>
            <a:off x="7038685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74226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6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1756514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166958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4577402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9" name="Рисунок 18"/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5987845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2" name="Рисунок 21"/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7398286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5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1769214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3179653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4590092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3" name="Текст 23"/>
          <p:cNvSpPr>
            <a:spLocks noGrp="1"/>
          </p:cNvSpPr>
          <p:nvPr>
            <p:ph type="body" sz="quarter" idx="47" hasCustomPrompt="1"/>
          </p:nvPr>
        </p:nvSpPr>
        <p:spPr>
          <a:xfrm>
            <a:off x="6000531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4" name="Текст 23"/>
          <p:cNvSpPr>
            <a:spLocks noGrp="1"/>
          </p:cNvSpPr>
          <p:nvPr>
            <p:ph type="body" sz="quarter" idx="48" hasCustomPrompt="1"/>
          </p:nvPr>
        </p:nvSpPr>
        <p:spPr>
          <a:xfrm>
            <a:off x="7410970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57686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Прямоугольник 21"/>
          <p:cNvSpPr/>
          <p:nvPr userDrawn="1"/>
        </p:nvSpPr>
        <p:spPr bwMode="auto">
          <a:xfrm>
            <a:off x="0" y="1131888"/>
            <a:ext cx="9144000" cy="19081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Контакты компани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921528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 dirty="0" smtClean="0"/>
              <a:t>www.sibur.ru</a:t>
            </a:r>
            <a:endParaRPr lang="ru-RU" dirty="0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082345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 dirty="0" smtClean="0"/>
              <a:t>sibur_holding</a:t>
            </a:r>
            <a:endParaRPr lang="ru-RU" dirty="0"/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3082345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 dirty="0" smtClean="0"/>
              <a:t>siburofficial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921528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 dirty="0" smtClean="0"/>
              <a:t>siburforclients</a:t>
            </a:r>
            <a:endParaRPr lang="ru-RU" dirty="0"/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7403978" y="4005399"/>
            <a:ext cx="1656000" cy="252000"/>
          </a:xfrm>
        </p:spPr>
        <p:txBody>
          <a:bodyPr/>
          <a:lstStyle>
            <a:lvl1pPr>
              <a:defRPr sz="1200" baseline="0"/>
            </a:lvl1pPr>
          </a:lstStyle>
          <a:p>
            <a:pPr lvl="0"/>
            <a:r>
              <a:rPr lang="ru-RU" dirty="0" smtClean="0"/>
              <a:t>СИБУР </a:t>
            </a:r>
            <a:r>
              <a:rPr lang="ru-RU" dirty="0" err="1" smtClean="0"/>
              <a:t>Вконтакте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5243162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 smtClean="0"/>
              <a:t>СИБУР </a:t>
            </a:r>
            <a:r>
              <a:rPr lang="en-US" dirty="0" smtClean="0"/>
              <a:t>twitter</a:t>
            </a:r>
            <a:endParaRPr lang="ru-RU" dirty="0"/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243162" y="3538117"/>
            <a:ext cx="1656000" cy="252000"/>
          </a:xfrm>
        </p:spPr>
        <p:txBody>
          <a:bodyPr/>
          <a:lstStyle>
            <a:lvl1pPr>
              <a:defRPr sz="1200" baseline="0"/>
            </a:lvl1pPr>
          </a:lstStyle>
          <a:p>
            <a:pPr lvl="0"/>
            <a:r>
              <a:rPr lang="en-US" dirty="0" smtClean="0"/>
              <a:t>Facebook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2" hasCustomPrompt="1"/>
          </p:nvPr>
        </p:nvSpPr>
        <p:spPr>
          <a:xfrm>
            <a:off x="7403978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 dirty="0" smtClean="0"/>
              <a:t>YouTube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30" hasCustomPrompt="1"/>
          </p:nvPr>
        </p:nvSpPr>
        <p:spPr>
          <a:xfrm>
            <a:off x="2592000" y="1721491"/>
            <a:ext cx="4031219" cy="28927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Тел.: +7 (495) 777-55-00; +7 (495) 780-55-00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31" hasCustomPrompt="1"/>
          </p:nvPr>
        </p:nvSpPr>
        <p:spPr>
          <a:xfrm>
            <a:off x="2592000" y="2116778"/>
            <a:ext cx="4031219" cy="28927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E-mail: info@sibur.ru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3" hasCustomPrompt="1"/>
          </p:nvPr>
        </p:nvSpPr>
        <p:spPr>
          <a:xfrm>
            <a:off x="358773" y="1401185"/>
            <a:ext cx="1353913" cy="135286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412285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/>
          <p:cNvSpPr/>
          <p:nvPr userDrawn="1"/>
        </p:nvSpPr>
        <p:spPr bwMode="auto">
          <a:xfrm>
            <a:off x="0" y="1510917"/>
            <a:ext cx="9144000" cy="30404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Контакты компани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58773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www.sibur.ru</a:t>
            </a:r>
            <a:endParaRPr lang="ru-RU" dirty="0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6819429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 smtClean="0"/>
              <a:t>sibur_holding</a:t>
            </a:r>
            <a:endParaRPr lang="ru-RU" dirty="0"/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2512327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err="1" smtClean="0"/>
              <a:t>Телеграм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 smtClean="0"/>
              <a:t>siburforclients</a:t>
            </a:r>
            <a:endParaRPr lang="ru-RU" dirty="0"/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6819429" y="4267201"/>
            <a:ext cx="1692000" cy="2841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СИБУР </a:t>
            </a:r>
            <a:r>
              <a:rPr lang="ru-RU" dirty="0" err="1" smtClean="0"/>
              <a:t>Вконтакте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665877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СИБУР </a:t>
            </a:r>
            <a:r>
              <a:rPr lang="en-US" dirty="0" smtClean="0"/>
              <a:t>twitter</a:t>
            </a:r>
            <a:endParaRPr lang="ru-RU" dirty="0"/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2512327" y="2739581"/>
            <a:ext cx="1692000" cy="2841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Facebook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2" hasCustomPrompt="1"/>
          </p:nvPr>
        </p:nvSpPr>
        <p:spPr>
          <a:xfrm>
            <a:off x="4665877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YouTube</a:t>
            </a:r>
            <a:endParaRPr lang="ru-RU" dirty="0"/>
          </a:p>
        </p:txBody>
      </p:sp>
      <p:sp>
        <p:nvSpPr>
          <p:cNvPr id="18" name="Рисунок 6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2512325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19" name="Рисунок 6"/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6819429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0" name="Рисунок 6"/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4665877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1" name="Рисунок 6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358773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2" name="Рисунок 6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2512325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3" name="Рисунок 6"/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6819429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4" name="Рисунок 6"/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4665877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30" hasCustomPrompt="1"/>
          </p:nvPr>
        </p:nvSpPr>
        <p:spPr>
          <a:xfrm>
            <a:off x="358775" y="1131888"/>
            <a:ext cx="3960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Тел.: +7 (495) 777-55-00; +7 (495) 780-55-00</a:t>
            </a:r>
            <a:endParaRPr lang="ru-RU" dirty="0"/>
          </a:p>
        </p:txBody>
      </p:sp>
      <p:sp>
        <p:nvSpPr>
          <p:cNvPr id="26" name="Текст 8"/>
          <p:cNvSpPr>
            <a:spLocks noGrp="1"/>
          </p:cNvSpPr>
          <p:nvPr>
            <p:ph type="body" sz="quarter" idx="31" hasCustomPrompt="1"/>
          </p:nvPr>
        </p:nvSpPr>
        <p:spPr>
          <a:xfrm>
            <a:off x="4665877" y="1131888"/>
            <a:ext cx="3960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E-mail: info@sibur.ru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9699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2458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81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353367" y="1211852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353367" y="169521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353367" y="217857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353367" y="266193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4"/>
          <p:cNvSpPr>
            <a:spLocks noGrp="1"/>
          </p:cNvSpPr>
          <p:nvPr>
            <p:ph type="pic" sz="quarter" idx="27" hasCustomPrompt="1"/>
          </p:nvPr>
        </p:nvSpPr>
        <p:spPr>
          <a:xfrm>
            <a:off x="353367" y="314529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Рисунок 14"/>
          <p:cNvSpPr>
            <a:spLocks noGrp="1"/>
          </p:cNvSpPr>
          <p:nvPr>
            <p:ph type="pic" sz="quarter" idx="28" hasCustomPrompt="1"/>
          </p:nvPr>
        </p:nvSpPr>
        <p:spPr>
          <a:xfrm>
            <a:off x="35336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5" name="Рисунок 14"/>
          <p:cNvSpPr>
            <a:spLocks noGrp="1"/>
          </p:cNvSpPr>
          <p:nvPr>
            <p:ph type="pic" sz="quarter" idx="51" hasCustomPrompt="1"/>
          </p:nvPr>
        </p:nvSpPr>
        <p:spPr>
          <a:xfrm>
            <a:off x="353367" y="362865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097769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72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0035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20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624284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10893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3588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78240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6289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65"/>
          </p:nvPr>
        </p:nvSpPr>
        <p:spPr>
          <a:xfrm>
            <a:off x="5239384" y="113963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6"/>
          </p:nvPr>
        </p:nvSpPr>
        <p:spPr>
          <a:xfrm>
            <a:off x="5239384" y="1624284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67"/>
          </p:nvPr>
        </p:nvSpPr>
        <p:spPr>
          <a:xfrm>
            <a:off x="5239384" y="210893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68"/>
          </p:nvPr>
        </p:nvSpPr>
        <p:spPr>
          <a:xfrm>
            <a:off x="5239384" y="2593588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69"/>
          </p:nvPr>
        </p:nvSpPr>
        <p:spPr>
          <a:xfrm>
            <a:off x="5239384" y="3078240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5" name="Текст 8"/>
          <p:cNvSpPr>
            <a:spLocks noGrp="1"/>
          </p:cNvSpPr>
          <p:nvPr>
            <p:ph type="body" sz="quarter" idx="70"/>
          </p:nvPr>
        </p:nvSpPr>
        <p:spPr>
          <a:xfrm>
            <a:off x="5239384" y="404754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6" name="Текст 8"/>
          <p:cNvSpPr>
            <a:spLocks noGrp="1"/>
          </p:cNvSpPr>
          <p:nvPr>
            <p:ph type="body" sz="quarter" idx="71"/>
          </p:nvPr>
        </p:nvSpPr>
        <p:spPr>
          <a:xfrm>
            <a:off x="5239384" y="356289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72" hasCustomPrompt="1"/>
          </p:nvPr>
        </p:nvSpPr>
        <p:spPr>
          <a:xfrm>
            <a:off x="4739958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4739958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42" name="Текст 7"/>
          <p:cNvSpPr>
            <a:spLocks noGrp="1"/>
          </p:cNvSpPr>
          <p:nvPr>
            <p:ph type="body" sz="quarter" idx="74" hasCustomPrompt="1"/>
          </p:nvPr>
        </p:nvSpPr>
        <p:spPr>
          <a:xfrm>
            <a:off x="4739958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4739958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76" hasCustomPrompt="1"/>
          </p:nvPr>
        </p:nvSpPr>
        <p:spPr>
          <a:xfrm>
            <a:off x="4739958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77" hasCustomPrompt="1"/>
          </p:nvPr>
        </p:nvSpPr>
        <p:spPr>
          <a:xfrm>
            <a:off x="4739958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8" hasCustomPrompt="1"/>
          </p:nvPr>
        </p:nvSpPr>
        <p:spPr>
          <a:xfrm>
            <a:off x="4739958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02299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34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65"/>
          </p:nvPr>
        </p:nvSpPr>
        <p:spPr>
          <a:xfrm>
            <a:off x="3719046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6"/>
          </p:nvPr>
        </p:nvSpPr>
        <p:spPr>
          <a:xfrm>
            <a:off x="3719046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67"/>
          </p:nvPr>
        </p:nvSpPr>
        <p:spPr>
          <a:xfrm>
            <a:off x="3719046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68"/>
          </p:nvPr>
        </p:nvSpPr>
        <p:spPr>
          <a:xfrm>
            <a:off x="3719046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69"/>
          </p:nvPr>
        </p:nvSpPr>
        <p:spPr>
          <a:xfrm>
            <a:off x="3719046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5" name="Текст 8"/>
          <p:cNvSpPr>
            <a:spLocks noGrp="1"/>
          </p:cNvSpPr>
          <p:nvPr>
            <p:ph type="body" sz="quarter" idx="70"/>
          </p:nvPr>
        </p:nvSpPr>
        <p:spPr>
          <a:xfrm>
            <a:off x="3719046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6" name="Текст 8"/>
          <p:cNvSpPr>
            <a:spLocks noGrp="1"/>
          </p:cNvSpPr>
          <p:nvPr>
            <p:ph type="body" sz="quarter" idx="71"/>
          </p:nvPr>
        </p:nvSpPr>
        <p:spPr>
          <a:xfrm>
            <a:off x="3719046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72" hasCustomPrompt="1"/>
          </p:nvPr>
        </p:nvSpPr>
        <p:spPr>
          <a:xfrm>
            <a:off x="3219620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3219620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42" name="Текст 7"/>
          <p:cNvSpPr>
            <a:spLocks noGrp="1"/>
          </p:cNvSpPr>
          <p:nvPr>
            <p:ph type="body" sz="quarter" idx="74" hasCustomPrompt="1"/>
          </p:nvPr>
        </p:nvSpPr>
        <p:spPr>
          <a:xfrm>
            <a:off x="3219620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3219620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76" hasCustomPrompt="1"/>
          </p:nvPr>
        </p:nvSpPr>
        <p:spPr>
          <a:xfrm>
            <a:off x="3219620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77" hasCustomPrompt="1"/>
          </p:nvPr>
        </p:nvSpPr>
        <p:spPr>
          <a:xfrm>
            <a:off x="3219620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8" hasCustomPrompt="1"/>
          </p:nvPr>
        </p:nvSpPr>
        <p:spPr>
          <a:xfrm>
            <a:off x="3219620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47" name="Текст 8"/>
          <p:cNvSpPr>
            <a:spLocks noGrp="1"/>
          </p:cNvSpPr>
          <p:nvPr>
            <p:ph type="body" sz="quarter" idx="79"/>
          </p:nvPr>
        </p:nvSpPr>
        <p:spPr>
          <a:xfrm>
            <a:off x="6728310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8" name="Текст 8"/>
          <p:cNvSpPr>
            <a:spLocks noGrp="1"/>
          </p:cNvSpPr>
          <p:nvPr>
            <p:ph type="body" sz="quarter" idx="80"/>
          </p:nvPr>
        </p:nvSpPr>
        <p:spPr>
          <a:xfrm>
            <a:off x="6728310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9" name="Текст 8"/>
          <p:cNvSpPr>
            <a:spLocks noGrp="1"/>
          </p:cNvSpPr>
          <p:nvPr>
            <p:ph type="body" sz="quarter" idx="81"/>
          </p:nvPr>
        </p:nvSpPr>
        <p:spPr>
          <a:xfrm>
            <a:off x="6728310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0" name="Текст 8"/>
          <p:cNvSpPr>
            <a:spLocks noGrp="1"/>
          </p:cNvSpPr>
          <p:nvPr>
            <p:ph type="body" sz="quarter" idx="82"/>
          </p:nvPr>
        </p:nvSpPr>
        <p:spPr>
          <a:xfrm>
            <a:off x="6728310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1" name="Текст 8"/>
          <p:cNvSpPr>
            <a:spLocks noGrp="1"/>
          </p:cNvSpPr>
          <p:nvPr>
            <p:ph type="body" sz="quarter" idx="83"/>
          </p:nvPr>
        </p:nvSpPr>
        <p:spPr>
          <a:xfrm>
            <a:off x="6728310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2" name="Текст 8"/>
          <p:cNvSpPr>
            <a:spLocks noGrp="1"/>
          </p:cNvSpPr>
          <p:nvPr>
            <p:ph type="body" sz="quarter" idx="84"/>
          </p:nvPr>
        </p:nvSpPr>
        <p:spPr>
          <a:xfrm>
            <a:off x="6728310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3" name="Текст 8"/>
          <p:cNvSpPr>
            <a:spLocks noGrp="1"/>
          </p:cNvSpPr>
          <p:nvPr>
            <p:ph type="body" sz="quarter" idx="85"/>
          </p:nvPr>
        </p:nvSpPr>
        <p:spPr>
          <a:xfrm>
            <a:off x="6728310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4" name="Текст 7"/>
          <p:cNvSpPr>
            <a:spLocks noGrp="1"/>
          </p:cNvSpPr>
          <p:nvPr>
            <p:ph type="body" sz="quarter" idx="86" hasCustomPrompt="1"/>
          </p:nvPr>
        </p:nvSpPr>
        <p:spPr>
          <a:xfrm>
            <a:off x="6228884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55" name="Текст 7"/>
          <p:cNvSpPr>
            <a:spLocks noGrp="1"/>
          </p:cNvSpPr>
          <p:nvPr>
            <p:ph type="body" sz="quarter" idx="87" hasCustomPrompt="1"/>
          </p:nvPr>
        </p:nvSpPr>
        <p:spPr>
          <a:xfrm>
            <a:off x="6228884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88" hasCustomPrompt="1"/>
          </p:nvPr>
        </p:nvSpPr>
        <p:spPr>
          <a:xfrm>
            <a:off x="6228884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57" name="Текст 7"/>
          <p:cNvSpPr>
            <a:spLocks noGrp="1"/>
          </p:cNvSpPr>
          <p:nvPr>
            <p:ph type="body" sz="quarter" idx="89" hasCustomPrompt="1"/>
          </p:nvPr>
        </p:nvSpPr>
        <p:spPr>
          <a:xfrm>
            <a:off x="6228884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58" name="Текст 7"/>
          <p:cNvSpPr>
            <a:spLocks noGrp="1"/>
          </p:cNvSpPr>
          <p:nvPr>
            <p:ph type="body" sz="quarter" idx="90" hasCustomPrompt="1"/>
          </p:nvPr>
        </p:nvSpPr>
        <p:spPr>
          <a:xfrm>
            <a:off x="6228884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59" name="Текст 7"/>
          <p:cNvSpPr>
            <a:spLocks noGrp="1"/>
          </p:cNvSpPr>
          <p:nvPr>
            <p:ph type="body" sz="quarter" idx="91" hasCustomPrompt="1"/>
          </p:nvPr>
        </p:nvSpPr>
        <p:spPr>
          <a:xfrm>
            <a:off x="6228884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60" name="Текст 7"/>
          <p:cNvSpPr>
            <a:spLocks noGrp="1"/>
          </p:cNvSpPr>
          <p:nvPr>
            <p:ph type="body" sz="quarter" idx="92" hasCustomPrompt="1"/>
          </p:nvPr>
        </p:nvSpPr>
        <p:spPr>
          <a:xfrm>
            <a:off x="6228884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55952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3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51.xml"/><Relationship Id="rId26" Type="http://schemas.openxmlformats.org/officeDocument/2006/relationships/slideLayout" Target="../slideLayouts/slideLayout59.xml"/><Relationship Id="rId3" Type="http://schemas.openxmlformats.org/officeDocument/2006/relationships/slideLayout" Target="../slideLayouts/slideLayout36.xml"/><Relationship Id="rId21" Type="http://schemas.openxmlformats.org/officeDocument/2006/relationships/slideLayout" Target="../slideLayouts/slideLayout54.xml"/><Relationship Id="rId34" Type="http://schemas.openxmlformats.org/officeDocument/2006/relationships/tags" Target="../tags/tag37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5" Type="http://schemas.openxmlformats.org/officeDocument/2006/relationships/slideLayout" Target="../slideLayouts/slideLayout58.xml"/><Relationship Id="rId33" Type="http://schemas.openxmlformats.org/officeDocument/2006/relationships/tags" Target="../tags/tag36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slideLayout" Target="../slideLayouts/slideLayout53.xml"/><Relationship Id="rId29" Type="http://schemas.openxmlformats.org/officeDocument/2006/relationships/slideLayout" Target="../slideLayouts/slideLayout62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24" Type="http://schemas.openxmlformats.org/officeDocument/2006/relationships/slideLayout" Target="../slideLayouts/slideLayout57.xml"/><Relationship Id="rId32" Type="http://schemas.openxmlformats.org/officeDocument/2006/relationships/vmlDrawing" Target="../drawings/vmlDrawing34.vml"/><Relationship Id="rId37" Type="http://schemas.openxmlformats.org/officeDocument/2006/relationships/image" Target="../media/image2.png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23" Type="http://schemas.openxmlformats.org/officeDocument/2006/relationships/slideLayout" Target="../slideLayouts/slideLayout56.xml"/><Relationship Id="rId28" Type="http://schemas.openxmlformats.org/officeDocument/2006/relationships/slideLayout" Target="../slideLayouts/slideLayout61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43.xml"/><Relationship Id="rId19" Type="http://schemas.openxmlformats.org/officeDocument/2006/relationships/slideLayout" Target="../slideLayouts/slideLayout52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slideLayout" Target="../slideLayouts/slideLayout55.xml"/><Relationship Id="rId27" Type="http://schemas.openxmlformats.org/officeDocument/2006/relationships/slideLayout" Target="../slideLayouts/slideLayout60.xml"/><Relationship Id="rId30" Type="http://schemas.openxmlformats.org/officeDocument/2006/relationships/slideLayout" Target="../slideLayouts/slideLayout63.xml"/><Relationship Id="rId35" Type="http://schemas.openxmlformats.org/officeDocument/2006/relationships/oleObject" Target="../embeddings/oleObject34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slideLayout" Target="../slideLayouts/slideLayout76.xml"/><Relationship Id="rId18" Type="http://schemas.openxmlformats.org/officeDocument/2006/relationships/slideLayout" Target="../slideLayouts/slideLayout81.xml"/><Relationship Id="rId26" Type="http://schemas.openxmlformats.org/officeDocument/2006/relationships/vmlDrawing" Target="../drawings/vmlDrawing65.vml"/><Relationship Id="rId3" Type="http://schemas.openxmlformats.org/officeDocument/2006/relationships/slideLayout" Target="../slideLayouts/slideLayout66.xml"/><Relationship Id="rId21" Type="http://schemas.openxmlformats.org/officeDocument/2006/relationships/slideLayout" Target="../slideLayouts/slideLayout84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17" Type="http://schemas.openxmlformats.org/officeDocument/2006/relationships/slideLayout" Target="../slideLayouts/slideLayout80.xml"/><Relationship Id="rId25" Type="http://schemas.openxmlformats.org/officeDocument/2006/relationships/theme" Target="../theme/theme3.xml"/><Relationship Id="rId2" Type="http://schemas.openxmlformats.org/officeDocument/2006/relationships/slideLayout" Target="../slideLayouts/slideLayout65.xml"/><Relationship Id="rId16" Type="http://schemas.openxmlformats.org/officeDocument/2006/relationships/slideLayout" Target="../slideLayouts/slideLayout79.xml"/><Relationship Id="rId20" Type="http://schemas.openxmlformats.org/officeDocument/2006/relationships/slideLayout" Target="../slideLayouts/slideLayout83.xml"/><Relationship Id="rId29" Type="http://schemas.openxmlformats.org/officeDocument/2006/relationships/oleObject" Target="../embeddings/oleObject65.bin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24" Type="http://schemas.openxmlformats.org/officeDocument/2006/relationships/slideLayout" Target="../slideLayouts/slideLayout87.xml"/><Relationship Id="rId5" Type="http://schemas.openxmlformats.org/officeDocument/2006/relationships/slideLayout" Target="../slideLayouts/slideLayout68.xml"/><Relationship Id="rId15" Type="http://schemas.openxmlformats.org/officeDocument/2006/relationships/slideLayout" Target="../slideLayouts/slideLayout78.xml"/><Relationship Id="rId23" Type="http://schemas.openxmlformats.org/officeDocument/2006/relationships/slideLayout" Target="../slideLayouts/slideLayout86.xml"/><Relationship Id="rId28" Type="http://schemas.openxmlformats.org/officeDocument/2006/relationships/tags" Target="../tags/tag69.xml"/><Relationship Id="rId10" Type="http://schemas.openxmlformats.org/officeDocument/2006/relationships/slideLayout" Target="../slideLayouts/slideLayout73.xml"/><Relationship Id="rId19" Type="http://schemas.openxmlformats.org/officeDocument/2006/relationships/slideLayout" Target="../slideLayouts/slideLayout82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slideLayout" Target="../slideLayouts/slideLayout77.xml"/><Relationship Id="rId22" Type="http://schemas.openxmlformats.org/officeDocument/2006/relationships/slideLayout" Target="../slideLayouts/slideLayout85.xml"/><Relationship Id="rId27" Type="http://schemas.openxmlformats.org/officeDocument/2006/relationships/tags" Target="../tags/tag68.xml"/><Relationship Id="rId30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oleObject" Target="../embeddings/oleObject90.bin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12" Type="http://schemas.openxmlformats.org/officeDocument/2006/relationships/tags" Target="../tags/tag95.xml"/><Relationship Id="rId2" Type="http://schemas.openxmlformats.org/officeDocument/2006/relationships/slideLayout" Target="../slideLayouts/slideLayout89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tags" Target="../tags/tag94.xml"/><Relationship Id="rId5" Type="http://schemas.openxmlformats.org/officeDocument/2006/relationships/slideLayout" Target="../slideLayouts/slideLayout92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90.vml"/><Relationship Id="rId4" Type="http://schemas.openxmlformats.org/officeDocument/2006/relationships/slideLayout" Target="../slideLayouts/slideLayout91.xml"/><Relationship Id="rId9" Type="http://schemas.openxmlformats.org/officeDocument/2006/relationships/theme" Target="../theme/theme4.xml"/><Relationship Id="rId14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8.xml"/><Relationship Id="rId18" Type="http://schemas.openxmlformats.org/officeDocument/2006/relationships/slideLayout" Target="../slideLayouts/slideLayout113.xml"/><Relationship Id="rId26" Type="http://schemas.openxmlformats.org/officeDocument/2006/relationships/slideLayout" Target="../slideLayouts/slideLayout121.xml"/><Relationship Id="rId39" Type="http://schemas.openxmlformats.org/officeDocument/2006/relationships/slideLayout" Target="../slideLayouts/slideLayout134.xml"/><Relationship Id="rId3" Type="http://schemas.openxmlformats.org/officeDocument/2006/relationships/slideLayout" Target="../slideLayouts/slideLayout98.xml"/><Relationship Id="rId21" Type="http://schemas.openxmlformats.org/officeDocument/2006/relationships/slideLayout" Target="../slideLayouts/slideLayout116.xml"/><Relationship Id="rId34" Type="http://schemas.openxmlformats.org/officeDocument/2006/relationships/slideLayout" Target="../slideLayouts/slideLayout129.xml"/><Relationship Id="rId42" Type="http://schemas.openxmlformats.org/officeDocument/2006/relationships/slideLayout" Target="../slideLayouts/slideLayout137.xml"/><Relationship Id="rId47" Type="http://schemas.openxmlformats.org/officeDocument/2006/relationships/tags" Target="../tags/tag98.xml"/><Relationship Id="rId50" Type="http://schemas.openxmlformats.org/officeDocument/2006/relationships/image" Target="../media/image2.png"/><Relationship Id="rId7" Type="http://schemas.openxmlformats.org/officeDocument/2006/relationships/slideLayout" Target="../slideLayouts/slideLayout102.xml"/><Relationship Id="rId12" Type="http://schemas.openxmlformats.org/officeDocument/2006/relationships/slideLayout" Target="../slideLayouts/slideLayout107.xml"/><Relationship Id="rId17" Type="http://schemas.openxmlformats.org/officeDocument/2006/relationships/slideLayout" Target="../slideLayouts/slideLayout112.xml"/><Relationship Id="rId25" Type="http://schemas.openxmlformats.org/officeDocument/2006/relationships/slideLayout" Target="../slideLayouts/slideLayout120.xml"/><Relationship Id="rId33" Type="http://schemas.openxmlformats.org/officeDocument/2006/relationships/slideLayout" Target="../slideLayouts/slideLayout128.xml"/><Relationship Id="rId38" Type="http://schemas.openxmlformats.org/officeDocument/2006/relationships/slideLayout" Target="../slideLayouts/slideLayout133.xml"/><Relationship Id="rId46" Type="http://schemas.openxmlformats.org/officeDocument/2006/relationships/tags" Target="../tags/tag97.xml"/><Relationship Id="rId2" Type="http://schemas.openxmlformats.org/officeDocument/2006/relationships/slideLayout" Target="../slideLayouts/slideLayout97.xml"/><Relationship Id="rId16" Type="http://schemas.openxmlformats.org/officeDocument/2006/relationships/slideLayout" Target="../slideLayouts/slideLayout111.xml"/><Relationship Id="rId20" Type="http://schemas.openxmlformats.org/officeDocument/2006/relationships/slideLayout" Target="../slideLayouts/slideLayout115.xml"/><Relationship Id="rId29" Type="http://schemas.openxmlformats.org/officeDocument/2006/relationships/slideLayout" Target="../slideLayouts/slideLayout124.xml"/><Relationship Id="rId41" Type="http://schemas.openxmlformats.org/officeDocument/2006/relationships/slideLayout" Target="../slideLayouts/slideLayout136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slideLayout" Target="../slideLayouts/slideLayout106.xml"/><Relationship Id="rId24" Type="http://schemas.openxmlformats.org/officeDocument/2006/relationships/slideLayout" Target="../slideLayouts/slideLayout119.xml"/><Relationship Id="rId32" Type="http://schemas.openxmlformats.org/officeDocument/2006/relationships/slideLayout" Target="../slideLayouts/slideLayout127.xml"/><Relationship Id="rId37" Type="http://schemas.openxmlformats.org/officeDocument/2006/relationships/slideLayout" Target="../slideLayouts/slideLayout132.xml"/><Relationship Id="rId40" Type="http://schemas.openxmlformats.org/officeDocument/2006/relationships/slideLayout" Target="../slideLayouts/slideLayout135.xml"/><Relationship Id="rId45" Type="http://schemas.openxmlformats.org/officeDocument/2006/relationships/vmlDrawing" Target="../drawings/vmlDrawing92.vml"/><Relationship Id="rId5" Type="http://schemas.openxmlformats.org/officeDocument/2006/relationships/slideLayout" Target="../slideLayouts/slideLayout100.xml"/><Relationship Id="rId15" Type="http://schemas.openxmlformats.org/officeDocument/2006/relationships/slideLayout" Target="../slideLayouts/slideLayout110.xml"/><Relationship Id="rId23" Type="http://schemas.openxmlformats.org/officeDocument/2006/relationships/slideLayout" Target="../slideLayouts/slideLayout118.xml"/><Relationship Id="rId28" Type="http://schemas.openxmlformats.org/officeDocument/2006/relationships/slideLayout" Target="../slideLayouts/slideLayout123.xml"/><Relationship Id="rId36" Type="http://schemas.openxmlformats.org/officeDocument/2006/relationships/slideLayout" Target="../slideLayouts/slideLayout131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05.xml"/><Relationship Id="rId19" Type="http://schemas.openxmlformats.org/officeDocument/2006/relationships/slideLayout" Target="../slideLayouts/slideLayout114.xml"/><Relationship Id="rId31" Type="http://schemas.openxmlformats.org/officeDocument/2006/relationships/slideLayout" Target="../slideLayouts/slideLayout126.xml"/><Relationship Id="rId44" Type="http://schemas.openxmlformats.org/officeDocument/2006/relationships/theme" Target="../theme/theme5.xml"/><Relationship Id="rId4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4.xml"/><Relationship Id="rId14" Type="http://schemas.openxmlformats.org/officeDocument/2006/relationships/slideLayout" Target="../slideLayouts/slideLayout109.xml"/><Relationship Id="rId22" Type="http://schemas.openxmlformats.org/officeDocument/2006/relationships/slideLayout" Target="../slideLayouts/slideLayout117.xml"/><Relationship Id="rId27" Type="http://schemas.openxmlformats.org/officeDocument/2006/relationships/slideLayout" Target="../slideLayouts/slideLayout122.xml"/><Relationship Id="rId30" Type="http://schemas.openxmlformats.org/officeDocument/2006/relationships/slideLayout" Target="../slideLayouts/slideLayout125.xml"/><Relationship Id="rId35" Type="http://schemas.openxmlformats.org/officeDocument/2006/relationships/slideLayout" Target="../slideLayouts/slideLayout130.xml"/><Relationship Id="rId43" Type="http://schemas.openxmlformats.org/officeDocument/2006/relationships/slideLayout" Target="../slideLayouts/slideLayout138.xml"/><Relationship Id="rId48" Type="http://schemas.openxmlformats.org/officeDocument/2006/relationships/oleObject" Target="../embeddings/oleObject92.bin"/><Relationship Id="rId8" Type="http://schemas.openxmlformats.org/officeDocument/2006/relationships/slideLayout" Target="../slideLayouts/slideLayout10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36.v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41.xml"/><Relationship Id="rId7" Type="http://schemas.openxmlformats.org/officeDocument/2006/relationships/theme" Target="../theme/theme6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39.xml"/><Relationship Id="rId6" Type="http://schemas.openxmlformats.org/officeDocument/2006/relationships/slideLayout" Target="../slideLayouts/slideLayout144.xml"/><Relationship Id="rId11" Type="http://schemas.openxmlformats.org/officeDocument/2006/relationships/oleObject" Target="../embeddings/oleObject136.bin"/><Relationship Id="rId5" Type="http://schemas.openxmlformats.org/officeDocument/2006/relationships/slideLayout" Target="../slideLayouts/slideLayout143.xml"/><Relationship Id="rId10" Type="http://schemas.openxmlformats.org/officeDocument/2006/relationships/tags" Target="../tags/tag143.xml"/><Relationship Id="rId4" Type="http://schemas.openxmlformats.org/officeDocument/2006/relationships/slideLayout" Target="../slideLayouts/slideLayout142.xml"/><Relationship Id="rId9" Type="http://schemas.openxmlformats.org/officeDocument/2006/relationships/tags" Target="../tags/tag14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47.xml"/><Relationship Id="rId7" Type="http://schemas.openxmlformats.org/officeDocument/2006/relationships/slideLayout" Target="../slideLayouts/slideLayout151.xml"/><Relationship Id="rId12" Type="http://schemas.openxmlformats.org/officeDocument/2006/relationships/oleObject" Target="../embeddings/oleObject141.bin"/><Relationship Id="rId2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tags" Target="../tags/tag149.xml"/><Relationship Id="rId5" Type="http://schemas.openxmlformats.org/officeDocument/2006/relationships/slideLayout" Target="../slideLayouts/slideLayout149.xml"/><Relationship Id="rId10" Type="http://schemas.openxmlformats.org/officeDocument/2006/relationships/tags" Target="../tags/tag148.xml"/><Relationship Id="rId4" Type="http://schemas.openxmlformats.org/officeDocument/2006/relationships/slideLayout" Target="../slideLayouts/slideLayout148.xml"/><Relationship Id="rId9" Type="http://schemas.openxmlformats.org/officeDocument/2006/relationships/vmlDrawing" Target="../drawings/vmlDrawing14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2072131180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475" name="Слайд think-cell" r:id="rId38" imgW="270" imgH="270" progId="TCLayout.ActiveDocument.1">
                  <p:embed/>
                </p:oleObj>
              </mc:Choice>
              <mc:Fallback>
                <p:oleObj name="Слайд think-cell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37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 userDrawn="1"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4"/>
            <a:ext cx="8426451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</a:t>
            </a:r>
            <a:r>
              <a:rPr lang="ru-RU" dirty="0" smtClean="0"/>
              <a:t>(</a:t>
            </a:r>
            <a:r>
              <a:rPr lang="ru-RU" dirty="0"/>
              <a:t>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4918" y="4757635"/>
            <a:ext cx="329472" cy="1903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98" y="4757635"/>
            <a:ext cx="5436000" cy="198551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7" y="4757635"/>
            <a:ext cx="955492" cy="1985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6" name="Прямоугольник 35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7" name="Прямоугольник 36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43" name="Прямоугольник 4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46" name="Прямоугольник 45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7" name="Прямоугольник 46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8" name="Прямоугольник 47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50" name="Прямоугольник 49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1" name="Прямоугольник 50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2" name="Прямоугольник 51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3" name="Прямоугольник 52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4" name="Прямоугольник 53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55" name="Прямоугольник 54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6" name="Прямоугольник 55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7" name="Прямоугольник 56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" name="TextBox 4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32" name="TextBox 31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31" name="Прямоугольник 30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3" name="Прямоугольник 32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4" name="Прямоугольник 33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40" name="Прямоугольник 39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  <p:sp>
        <p:nvSpPr>
          <p:cNvPr id="7" name="Текст 6"/>
          <p:cNvSpPr>
            <a:spLocks noGrp="1"/>
          </p:cNvSpPr>
          <p:nvPr>
            <p:ph type="body" idx="1"/>
          </p:nvPr>
        </p:nvSpPr>
        <p:spPr>
          <a:xfrm>
            <a:off x="358775" y="1131888"/>
            <a:ext cx="8426450" cy="34194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12720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9" r:id="rId1"/>
    <p:sldLayoutId id="2147484640" r:id="rId2"/>
    <p:sldLayoutId id="2147484636" r:id="rId3"/>
    <p:sldLayoutId id="2147484637" r:id="rId4"/>
    <p:sldLayoutId id="2147484638" r:id="rId5"/>
    <p:sldLayoutId id="2147484207" r:id="rId6"/>
    <p:sldLayoutId id="2147484559" r:id="rId7"/>
    <p:sldLayoutId id="2147484581" r:id="rId8"/>
    <p:sldLayoutId id="2147484560" r:id="rId9"/>
    <p:sldLayoutId id="2147484564" r:id="rId10"/>
    <p:sldLayoutId id="2147484566" r:id="rId11"/>
    <p:sldLayoutId id="2147484562" r:id="rId12"/>
    <p:sldLayoutId id="2147484574" r:id="rId13"/>
    <p:sldLayoutId id="2147484563" r:id="rId14"/>
    <p:sldLayoutId id="2147484583" r:id="rId15"/>
    <p:sldLayoutId id="2147484584" r:id="rId16"/>
    <p:sldLayoutId id="2147484561" r:id="rId17"/>
    <p:sldLayoutId id="2147484585" r:id="rId18"/>
    <p:sldLayoutId id="2147484565" r:id="rId19"/>
    <p:sldLayoutId id="2147484567" r:id="rId20"/>
    <p:sldLayoutId id="2147484580" r:id="rId21"/>
    <p:sldLayoutId id="2147484568" r:id="rId22"/>
    <p:sldLayoutId id="2147484582" r:id="rId23"/>
    <p:sldLayoutId id="2147484569" r:id="rId24"/>
    <p:sldLayoutId id="2147484586" r:id="rId25"/>
    <p:sldLayoutId id="2147484571" r:id="rId26"/>
    <p:sldLayoutId id="2147484587" r:id="rId27"/>
    <p:sldLayoutId id="2147484570" r:id="rId28"/>
    <p:sldLayoutId id="2147484573" r:id="rId29"/>
    <p:sldLayoutId id="2147484572" r:id="rId30"/>
    <p:sldLayoutId id="2147484971" r:id="rId31"/>
    <p:sldLayoutId id="2147484972" r:id="rId32"/>
    <p:sldLayoutId id="2147484973" r:id="rId3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lang="ru-RU" sz="2000" b="1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0"/>
        </a:spcAft>
        <a:buClr>
          <a:schemeClr val="tx2"/>
        </a:buClr>
        <a:buFont typeface="Wingdings" charset="2"/>
        <a:buNone/>
        <a:defRPr sz="1400" b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200" b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00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90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80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orient="horz" pos="2867" userDrawn="1">
          <p15:clr>
            <a:srgbClr val="F26B43"/>
          </p15:clr>
        </p15:guide>
        <p15:guide id="4" pos="5534" userDrawn="1">
          <p15:clr>
            <a:srgbClr val="F26B43"/>
          </p15:clr>
        </p15:guide>
        <p15:guide id="5" orient="horz" pos="645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1920" userDrawn="1">
          <p15:clr>
            <a:srgbClr val="F26B43"/>
          </p15:clr>
        </p15:guide>
        <p15:guide id="9" pos="4800" userDrawn="1">
          <p15:clr>
            <a:srgbClr val="F26B43"/>
          </p15:clr>
        </p15:guide>
        <p15:guide id="10" pos="960" userDrawn="1">
          <p15:clr>
            <a:srgbClr val="F26B43"/>
          </p15:clr>
        </p15:guide>
        <p15:guide id="11" pos="2880" userDrawn="1">
          <p15:clr>
            <a:srgbClr val="F26B43"/>
          </p15:clr>
        </p15:guide>
        <p15:guide id="12" orient="horz" pos="957" userDrawn="1">
          <p15:clr>
            <a:srgbClr val="F26B43"/>
          </p15:clr>
        </p15:guide>
        <p15:guide id="13" orient="horz" pos="1914" userDrawn="1">
          <p15:clr>
            <a:srgbClr val="F26B43"/>
          </p15:clr>
        </p15:guide>
        <p15:guide id="14" orient="horz" pos="162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33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306" name="Слайд think-cell" r:id="rId35" imgW="270" imgH="270" progId="TCLayout.ActiveDocument.1">
                  <p:embed/>
                </p:oleObj>
              </mc:Choice>
              <mc:Fallback>
                <p:oleObj name="Слайд think-cell" r:id="rId35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34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4" y="1145282"/>
            <a:ext cx="8426451" cy="3401286"/>
          </a:xfrm>
          <a:prstGeom prst="rect">
            <a:avLst/>
          </a:prstGeom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</a:t>
            </a:r>
            <a:r>
              <a:rPr lang="ru-RU" altLang="en-US" dirty="0" smtClean="0"/>
              <a:t>уровень</a:t>
            </a:r>
          </a:p>
          <a:p>
            <a:pPr lvl="4"/>
            <a:r>
              <a:rPr lang="ru-RU" altLang="en-US" dirty="0" smtClean="0"/>
              <a:t>Пятый уровень</a:t>
            </a:r>
            <a:endParaRPr lang="ru-RU" altLang="en-US" dirty="0"/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2" y="353118"/>
            <a:ext cx="8426453" cy="30777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2" y="4755455"/>
            <a:ext cx="324954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7" y="4755454"/>
            <a:ext cx="5436000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5" y="4759819"/>
            <a:ext cx="957248" cy="196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pic>
        <p:nvPicPr>
          <p:cNvPr id="61" name="Рисунок 60"/>
          <p:cNvPicPr>
            <a:picLocks noChangeAspect="1"/>
          </p:cNvPicPr>
          <p:nvPr userDrawn="1"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59" name="Группа 58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60" name="Прямоугольник 59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2" name="Прямоугольник 61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63" name="Прямоугольник 6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4" name="Прямоугольник 63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5" name="Прямоугольник 64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6" name="Прямоугольник 65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7" name="Прямоугольник 66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8" name="Прямоугольник 67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9" name="Прямоугольник 68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0" name="Прямоугольник 69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1" name="Прямоугольник 70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72" name="Прямоугольник 71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3" name="Прямоугольник 72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4" name="Прямоугольник 73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5" name="Прямоугольник 94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6" name="TextBox 95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97" name="TextBox 96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98" name="Прямоугольник 97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9" name="Прямоугольник 98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0" name="Прямоугольник 99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1" name="Прямоугольник 100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38606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3" r:id="rId1"/>
    <p:sldLayoutId id="2147484704" r:id="rId2"/>
    <p:sldLayoutId id="2147484705" r:id="rId3"/>
    <p:sldLayoutId id="2147484706" r:id="rId4"/>
    <p:sldLayoutId id="2147484707" r:id="rId5"/>
    <p:sldLayoutId id="2147484708" r:id="rId6"/>
    <p:sldLayoutId id="2147484709" r:id="rId7"/>
    <p:sldLayoutId id="2147484710" r:id="rId8"/>
    <p:sldLayoutId id="2147484722" r:id="rId9"/>
    <p:sldLayoutId id="2147484711" r:id="rId10"/>
    <p:sldLayoutId id="2147484712" r:id="rId11"/>
    <p:sldLayoutId id="2147484713" r:id="rId12"/>
    <p:sldLayoutId id="2147484714" r:id="rId13"/>
    <p:sldLayoutId id="2147484715" r:id="rId14"/>
    <p:sldLayoutId id="2147484716" r:id="rId15"/>
    <p:sldLayoutId id="2147484740" r:id="rId16"/>
    <p:sldLayoutId id="2147484741" r:id="rId17"/>
    <p:sldLayoutId id="2147484742" r:id="rId18"/>
    <p:sldLayoutId id="2147484745" r:id="rId19"/>
    <p:sldLayoutId id="2147484746" r:id="rId20"/>
    <p:sldLayoutId id="2147484747" r:id="rId21"/>
    <p:sldLayoutId id="2147484748" r:id="rId22"/>
    <p:sldLayoutId id="2147484743" r:id="rId23"/>
    <p:sldLayoutId id="2147484744" r:id="rId24"/>
    <p:sldLayoutId id="2147484717" r:id="rId25"/>
    <p:sldLayoutId id="2147484718" r:id="rId26"/>
    <p:sldLayoutId id="2147484719" r:id="rId27"/>
    <p:sldLayoutId id="2147484720" r:id="rId28"/>
    <p:sldLayoutId id="2147484721" r:id="rId29"/>
    <p:sldLayoutId id="2147484970" r:id="rId3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baseline="0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62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91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355684280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877" name="Слайд think-cell" r:id="rId29" imgW="270" imgH="270" progId="TCLayout.ActiveDocument.1">
                  <p:embed/>
                </p:oleObj>
              </mc:Choice>
              <mc:Fallback>
                <p:oleObj name="Слайд think-cell" r:id="rId29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8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47883"/>
            <a:ext cx="8426451" cy="6726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98" y="4755454"/>
            <a:ext cx="5436000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37849" y="4760860"/>
            <a:ext cx="958450" cy="195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58774" y="1145282"/>
            <a:ext cx="8426452" cy="34060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56" name="Рисунок 55"/>
          <p:cNvPicPr>
            <a:picLocks noChangeAspect="1"/>
          </p:cNvPicPr>
          <p:nvPr userDrawn="1"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78" name="Группа 77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79" name="Прямоугольник 78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80" name="Прямоугольник 79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81" name="Прямоугольник 80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82" name="Прямоугольник 81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83" name="Прямоугольник 82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84" name="Прямоугольник 83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85" name="Прямоугольник 84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86" name="Прямоугольник 85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87" name="Прямоугольник 86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88" name="Прямоугольник 87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89" name="Прямоугольник 88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90" name="Прямоугольник 89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91" name="Прямоугольник 90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92" name="Прямоугольник 91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3" name="Прямоугольник 92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4" name="TextBox 93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95" name="TextBox 94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96" name="Прямоугольник 95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7" name="Прямоугольник 96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8" name="Прямоугольник 97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9" name="Прямоугольник 98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7520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7" r:id="rId1"/>
    <p:sldLayoutId id="2147484306" r:id="rId2"/>
    <p:sldLayoutId id="2147484684" r:id="rId3"/>
    <p:sldLayoutId id="2147484686" r:id="rId4"/>
    <p:sldLayoutId id="2147484685" r:id="rId5"/>
    <p:sldLayoutId id="2147484672" r:id="rId6"/>
    <p:sldLayoutId id="2147484674" r:id="rId7"/>
    <p:sldLayoutId id="2147484673" r:id="rId8"/>
    <p:sldLayoutId id="2147484752" r:id="rId9"/>
    <p:sldLayoutId id="2147484753" r:id="rId10"/>
    <p:sldLayoutId id="2147484754" r:id="rId11"/>
    <p:sldLayoutId id="2147484675" r:id="rId12"/>
    <p:sldLayoutId id="2147484676" r:id="rId13"/>
    <p:sldLayoutId id="2147484751" r:id="rId14"/>
    <p:sldLayoutId id="2147484677" r:id="rId15"/>
    <p:sldLayoutId id="2147484749" r:id="rId16"/>
    <p:sldLayoutId id="2147484750" r:id="rId17"/>
    <p:sldLayoutId id="2147484681" r:id="rId18"/>
    <p:sldLayoutId id="2147484682" r:id="rId19"/>
    <p:sldLayoutId id="2147484683" r:id="rId20"/>
    <p:sldLayoutId id="2147484678" r:id="rId21"/>
    <p:sldLayoutId id="2147484679" r:id="rId22"/>
    <p:sldLayoutId id="2147484680" r:id="rId23"/>
    <p:sldLayoutId id="2147484961" r:id="rId2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defRPr lang="ru-RU" sz="1400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2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000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orient="horz" pos="2867" userDrawn="1">
          <p15:clr>
            <a:srgbClr val="F26B43"/>
          </p15:clr>
        </p15:guide>
        <p15:guide id="4" pos="5534" userDrawn="1">
          <p15:clr>
            <a:srgbClr val="F26B43"/>
          </p15:clr>
        </p15:guide>
        <p15:guide id="5" orient="horz" pos="645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  <p15:guide id="7" pos="4800" userDrawn="1">
          <p15:clr>
            <a:srgbClr val="F26B43"/>
          </p15:clr>
        </p15:guide>
        <p15:guide id="8" orient="horz" pos="1915" userDrawn="1">
          <p15:clr>
            <a:srgbClr val="F26B43"/>
          </p15:clr>
        </p15:guide>
        <p15:guide id="9" pos="3840" userDrawn="1">
          <p15:clr>
            <a:srgbClr val="F26B43"/>
          </p15:clr>
        </p15:guide>
        <p15:guide id="10" pos="960" userDrawn="1">
          <p15:clr>
            <a:srgbClr val="F26B43"/>
          </p15:clr>
        </p15:guide>
        <p15:guide id="11" pos="1920" userDrawn="1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orient="horz" pos="962" userDrawn="1">
          <p15:clr>
            <a:srgbClr val="F26B43"/>
          </p15:clr>
        </p15:guide>
        <p15:guide id="14" orient="horz" pos="1620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819" name="Слайд think-cell" r:id="rId13" imgW="270" imgH="270" progId="TCLayout.ActiveDocument.1">
                  <p:embed/>
                </p:oleObj>
              </mc:Choice>
              <mc:Fallback>
                <p:oleObj name="Слайд think-cell" r:id="rId13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12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5" y="1145282"/>
            <a:ext cx="8405216" cy="3401286"/>
          </a:xfrm>
          <a:prstGeom prst="rect">
            <a:avLst/>
          </a:prstGeom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</a:t>
            </a:r>
            <a:r>
              <a:rPr lang="ru-RU" altLang="en-US" dirty="0" smtClean="0"/>
              <a:t>уровень</a:t>
            </a:r>
          </a:p>
          <a:p>
            <a:pPr lvl="4"/>
            <a:r>
              <a:rPr lang="ru-RU" altLang="en-US" dirty="0" smtClean="0"/>
              <a:t>Пятый уровень</a:t>
            </a:r>
            <a:endParaRPr lang="ru-RU" altLang="en-US" dirty="0"/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2" y="353118"/>
            <a:ext cx="8426453" cy="66954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2" y="4755455"/>
            <a:ext cx="324954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7" y="4755454"/>
            <a:ext cx="5436000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5" y="4759819"/>
            <a:ext cx="957248" cy="196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pic>
        <p:nvPicPr>
          <p:cNvPr id="61" name="Рисунок 60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59" name="Группа 58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60" name="Прямоугольник 59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2" name="Прямоугольник 61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63" name="Прямоугольник 6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4" name="Прямоугольник 63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5" name="Прямоугольник 64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6" name="Прямоугольник 65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7" name="Прямоугольник 66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8" name="Прямоугольник 67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9" name="Прямоугольник 68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0" name="Прямоугольник 69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1" name="Прямоугольник 70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72" name="Прямоугольник 71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3" name="Прямоугольник 72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4" name="Прямоугольник 73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5" name="Прямоугольник 94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6" name="TextBox 95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97" name="TextBox 96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98" name="Прямоугольник 97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9" name="Прямоугольник 98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0" name="Прямоугольник 99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1" name="Прямоугольник 100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77931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9" r:id="rId1"/>
    <p:sldLayoutId id="2147484755" r:id="rId2"/>
    <p:sldLayoutId id="2147484737" r:id="rId3"/>
    <p:sldLayoutId id="2147484736" r:id="rId4"/>
    <p:sldLayoutId id="2147484735" r:id="rId5"/>
    <p:sldLayoutId id="2147484734" r:id="rId6"/>
    <p:sldLayoutId id="2147484729" r:id="rId7"/>
    <p:sldLayoutId id="2147484730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b="1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62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915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1503372853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166" name="Слайд think-cell" r:id="rId48" imgW="270" imgH="270" progId="TCLayout.ActiveDocument.1">
                  <p:embed/>
                </p:oleObj>
              </mc:Choice>
              <mc:Fallback>
                <p:oleObj name="Слайд think-cell" r:id="rId48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47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4"/>
            <a:ext cx="8426451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</a:t>
            </a:r>
            <a:r>
              <a:rPr lang="ru-RU" dirty="0" smtClean="0"/>
              <a:t>заголовка (заголовок не более 2 строк)</a:t>
            </a:r>
            <a:endParaRPr lang="ru-RU" dirty="0"/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4" y="4754388"/>
            <a:ext cx="323197" cy="2017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7" y="4755454"/>
            <a:ext cx="5436000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7" y="4755454"/>
            <a:ext cx="955492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58774" y="1131889"/>
            <a:ext cx="8426451" cy="34146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61" name="Рисунок 60"/>
          <p:cNvPicPr>
            <a:picLocks noChangeAspect="1"/>
          </p:cNvPicPr>
          <p:nvPr userDrawn="1"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57" name="Группа 56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58" name="Прямоугольник 57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60" name="Прямоугольник 59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2" name="Прямоугольник 61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3" name="Прямоугольник 62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4" name="Прямоугольник 63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5" name="Прямоугольник 64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6" name="Прямоугольник 65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7" name="Прямоугольник 66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68" name="Прямоугольник 67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9" name="Прямоугольник 68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70" name="Прямоугольник 69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1" name="Прямоугольник 70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2" name="Прямоугольник 71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73" name="Прямоугольник 72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74" name="TextBox 73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75" name="TextBox 74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76" name="Прямоугольник 75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77" name="Прямоугольник 76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78" name="Прямоугольник 77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79" name="Прямоугольник 78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66189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0" r:id="rId1"/>
    <p:sldLayoutId id="2147484612" r:id="rId2"/>
    <p:sldLayoutId id="2147484631" r:id="rId3"/>
    <p:sldLayoutId id="2147484635" r:id="rId4"/>
    <p:sldLayoutId id="2147484622" r:id="rId5"/>
    <p:sldLayoutId id="2147484621" r:id="rId6"/>
    <p:sldLayoutId id="2147484633" r:id="rId7"/>
    <p:sldLayoutId id="2147484615" r:id="rId8"/>
    <p:sldLayoutId id="2147484619" r:id="rId9"/>
    <p:sldLayoutId id="2147484617" r:id="rId10"/>
    <p:sldLayoutId id="2147484618" r:id="rId11"/>
    <p:sldLayoutId id="2147484614" r:id="rId12"/>
    <p:sldLayoutId id="2147484616" r:id="rId13"/>
    <p:sldLayoutId id="2147484620" r:id="rId14"/>
    <p:sldLayoutId id="2147484634" r:id="rId15"/>
    <p:sldLayoutId id="2147484695" r:id="rId16"/>
    <p:sldLayoutId id="2147484632" r:id="rId17"/>
    <p:sldLayoutId id="2147484696" r:id="rId18"/>
    <p:sldLayoutId id="2147484629" r:id="rId19"/>
    <p:sldLayoutId id="2147484670" r:id="rId20"/>
    <p:sldLayoutId id="2147484697" r:id="rId21"/>
    <p:sldLayoutId id="2147484698" r:id="rId22"/>
    <p:sldLayoutId id="2147484541" r:id="rId23"/>
    <p:sldLayoutId id="2147484613" r:id="rId24"/>
    <p:sldLayoutId id="2147484624" r:id="rId25"/>
    <p:sldLayoutId id="2147484623" r:id="rId26"/>
    <p:sldLayoutId id="2147484627" r:id="rId27"/>
    <p:sldLayoutId id="2147484628" r:id="rId28"/>
    <p:sldLayoutId id="2147484605" r:id="rId29"/>
    <p:sldLayoutId id="2147484542" r:id="rId30"/>
    <p:sldLayoutId id="2147484604" r:id="rId31"/>
    <p:sldLayoutId id="2147484663" r:id="rId32"/>
    <p:sldLayoutId id="2147484664" r:id="rId33"/>
    <p:sldLayoutId id="2147484665" r:id="rId34"/>
    <p:sldLayoutId id="2147484666" r:id="rId35"/>
    <p:sldLayoutId id="2147484667" r:id="rId36"/>
    <p:sldLayoutId id="2147484668" r:id="rId37"/>
    <p:sldLayoutId id="2147484543" r:id="rId38"/>
    <p:sldLayoutId id="2147484544" r:id="rId39"/>
    <p:sldLayoutId id="2147484756" r:id="rId40"/>
    <p:sldLayoutId id="2147484606" r:id="rId41"/>
    <p:sldLayoutId id="2147484757" r:id="rId42"/>
    <p:sldLayoutId id="2147484546" r:id="rId4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defRPr lang="ru-RU" sz="1400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2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000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orient="horz" pos="2867" userDrawn="1">
          <p15:clr>
            <a:srgbClr val="F26B43"/>
          </p15:clr>
        </p15:guide>
        <p15:guide id="4" pos="5534" userDrawn="1">
          <p15:clr>
            <a:srgbClr val="F26B43"/>
          </p15:clr>
        </p15:guide>
        <p15:guide id="5" orient="horz" pos="1620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  <p15:guide id="7" pos="2880" userDrawn="1">
          <p15:clr>
            <a:srgbClr val="F26B43"/>
          </p15:clr>
        </p15:guide>
        <p15:guide id="8" pos="1920" userDrawn="1">
          <p15:clr>
            <a:srgbClr val="F26B43"/>
          </p15:clr>
        </p15:guide>
        <p15:guide id="9" pos="960" userDrawn="1">
          <p15:clr>
            <a:srgbClr val="F26B43"/>
          </p15:clr>
        </p15:guide>
        <p15:guide id="10" pos="3840" userDrawn="1">
          <p15:clr>
            <a:srgbClr val="F26B43"/>
          </p15:clr>
        </p15:guide>
        <p15:guide id="11" pos="4800" userDrawn="1">
          <p15:clr>
            <a:srgbClr val="F26B43"/>
          </p15:clr>
        </p15:guide>
        <p15:guide id="12" orient="horz" pos="1915" userDrawn="1">
          <p15:clr>
            <a:srgbClr val="F26B43"/>
          </p15:clr>
        </p15:guide>
        <p15:guide id="13" orient="horz" pos="645" userDrawn="1">
          <p15:clr>
            <a:srgbClr val="F26B43"/>
          </p15:clr>
        </p15:guide>
        <p15:guide id="14" orient="horz" pos="962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265930650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071" name="Слайд think-cell" r:id="rId11" imgW="270" imgH="270" progId="TCLayout.ActiveDocument.1">
                  <p:embed/>
                </p:oleObj>
              </mc:Choice>
              <mc:Fallback>
                <p:oleObj name="Слайд think-cell" r:id="rId11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10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4" y="1131887"/>
            <a:ext cx="8426451" cy="3417927"/>
          </a:xfrm>
          <a:prstGeom prst="rect">
            <a:avLst/>
          </a:prstGeom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</a:t>
            </a:r>
            <a:r>
              <a:rPr lang="ru-RU" altLang="en-US" dirty="0" smtClean="0"/>
              <a:t>уровень</a:t>
            </a:r>
          </a:p>
          <a:p>
            <a:pPr lvl="4"/>
            <a:r>
              <a:rPr lang="ru-RU" altLang="en-US" dirty="0" smtClean="0"/>
              <a:t>Пятый уровень</a:t>
            </a:r>
            <a:endParaRPr lang="ru-RU" altLang="en-US" dirty="0"/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1952" y="339723"/>
            <a:ext cx="8423271" cy="6829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1952" y="4755453"/>
            <a:ext cx="322438" cy="20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98" y="4755454"/>
            <a:ext cx="5436000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4531" y="4755453"/>
            <a:ext cx="954186" cy="20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pic>
        <p:nvPicPr>
          <p:cNvPr id="61" name="Рисунок 60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59" name="Группа 58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60" name="Прямоугольник 59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2" name="Прямоугольник 61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63" name="Прямоугольник 6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4" name="Прямоугольник 63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5" name="Прямоугольник 64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6" name="Прямоугольник 65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7" name="Прямоугольник 66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8" name="Прямоугольник 67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9" name="Прямоугольник 68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0" name="Прямоугольник 69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1" name="Прямоугольник 70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72" name="Прямоугольник 71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3" name="Прямоугольник 72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4" name="Прямоугольник 73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5" name="Прямоугольник 94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6" name="TextBox 95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97" name="TextBox 96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98" name="Прямоугольник 97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9" name="Прямоугольник 98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0" name="Прямоугольник 99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1" name="Прямоугольник 100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066808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23" r:id="rId1"/>
    <p:sldLayoutId id="2147484700" r:id="rId2"/>
    <p:sldLayoutId id="2147484758" r:id="rId3"/>
    <p:sldLayoutId id="2147484759" r:id="rId4"/>
    <p:sldLayoutId id="2147484763" r:id="rId5"/>
    <p:sldLayoutId id="2147484764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orient="horz" pos="2867" userDrawn="1">
          <p15:clr>
            <a:srgbClr val="F26B43"/>
          </p15:clr>
        </p15:guide>
        <p15:guide id="4" pos="5534" userDrawn="1">
          <p15:clr>
            <a:srgbClr val="F26B43"/>
          </p15:clr>
        </p15:guide>
        <p15:guide id="5" orient="horz" pos="645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5864" name="Слайд think-cell" r:id="rId12" imgW="270" imgH="270" progId="TCLayout.ActiveDocument.1">
                  <p:embed/>
                </p:oleObj>
              </mc:Choice>
              <mc:Fallback>
                <p:oleObj name="Слайд think-cell" r:id="rId12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1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47883"/>
            <a:ext cx="8426451" cy="6726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58774" y="1145282"/>
            <a:ext cx="8426452" cy="34060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grpSp>
        <p:nvGrpSpPr>
          <p:cNvPr id="55" name="Группа 54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56" name="Прямоугольник 55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58" name="Прямоугольник 57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59" name="Прямоугольник 58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75" name="Прямоугольник 74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76" name="Прямоугольник 75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77" name="Прямоугольник 76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78" name="Прямоугольник 77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9" name="Прямоугольник 78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80" name="Прямоугольник 79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81" name="Прямоугольник 80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82" name="Прямоугольник 81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83" name="Прямоугольник 82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84" name="Прямоугольник 83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85" name="Прямоугольник 84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86" name="TextBox 85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87" name="TextBox 86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88" name="Прямоугольник 87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89" name="Прямоугольник 88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0" name="Прямоугольник 89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1" name="Прямоугольник 90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2904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9" r:id="rId1"/>
    <p:sldLayoutId id="2147484950" r:id="rId2"/>
    <p:sldLayoutId id="2147484951" r:id="rId3"/>
    <p:sldLayoutId id="2147484952" r:id="rId4"/>
    <p:sldLayoutId id="2147484953" r:id="rId5"/>
    <p:sldLayoutId id="2147484954" r:id="rId6"/>
    <p:sldLayoutId id="2147484955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defRPr lang="ru-RU" sz="1400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2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000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4800">
          <p15:clr>
            <a:srgbClr val="F26B43"/>
          </p15:clr>
        </p15:guide>
        <p15:guide id="8" orient="horz" pos="1915">
          <p15:clr>
            <a:srgbClr val="F26B43"/>
          </p15:clr>
        </p15:guide>
        <p15:guide id="9" pos="3840">
          <p15:clr>
            <a:srgbClr val="F26B43"/>
          </p15:clr>
        </p15:guide>
        <p15:guide id="10" pos="960">
          <p15:clr>
            <a:srgbClr val="F26B43"/>
          </p15:clr>
        </p15:guide>
        <p15:guide id="11" pos="1920">
          <p15:clr>
            <a:srgbClr val="F26B43"/>
          </p15:clr>
        </p15:guide>
        <p15:guide id="12" pos="288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62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14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8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15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9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7" Type="http://schemas.openxmlformats.org/officeDocument/2006/relationships/image" Target="../media/image24.jpeg"/><Relationship Id="rId2" Type="http://schemas.openxmlformats.org/officeDocument/2006/relationships/tags" Target="../tags/tag166.xml"/><Relationship Id="rId1" Type="http://schemas.openxmlformats.org/officeDocument/2006/relationships/vmlDrawing" Target="../drawings/vmlDrawing158.vml"/><Relationship Id="rId6" Type="http://schemas.openxmlformats.org/officeDocument/2006/relationships/image" Target="../media/image2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9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15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9.bin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g"/><Relationship Id="rId3" Type="http://schemas.openxmlformats.org/officeDocument/2006/relationships/slideLayout" Target="../slideLayouts/slideLayout31.xml"/><Relationship Id="rId7" Type="http://schemas.openxmlformats.org/officeDocument/2006/relationships/image" Target="../media/image26.png"/><Relationship Id="rId2" Type="http://schemas.openxmlformats.org/officeDocument/2006/relationships/tags" Target="../tags/tag168.xml"/><Relationship Id="rId1" Type="http://schemas.openxmlformats.org/officeDocument/2006/relationships/vmlDrawing" Target="../drawings/vmlDrawing160.vml"/><Relationship Id="rId6" Type="http://schemas.openxmlformats.org/officeDocument/2006/relationships/image" Target="../media/image2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9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6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9.bin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Layout" Target="../slideLayouts/slideLayout31.xml"/><Relationship Id="rId7" Type="http://schemas.openxmlformats.org/officeDocument/2006/relationships/image" Target="../media/image29.jpeg"/><Relationship Id="rId2" Type="http://schemas.openxmlformats.org/officeDocument/2006/relationships/tags" Target="../tags/tag170.xml"/><Relationship Id="rId1" Type="http://schemas.openxmlformats.org/officeDocument/2006/relationships/vmlDrawing" Target="../drawings/vmlDrawing162.vml"/><Relationship Id="rId6" Type="http://schemas.openxmlformats.org/officeDocument/2006/relationships/image" Target="../media/image28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9.bin"/><Relationship Id="rId9" Type="http://schemas.openxmlformats.org/officeDocument/2006/relationships/image" Target="../media/image3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171.xml"/><Relationship Id="rId1" Type="http://schemas.openxmlformats.org/officeDocument/2006/relationships/vmlDrawing" Target="../drawings/vmlDrawing16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9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Layout" Target="../slideLayouts/slideLayout31.xml"/><Relationship Id="rId7" Type="http://schemas.openxmlformats.org/officeDocument/2006/relationships/image" Target="../media/image32.png"/><Relationship Id="rId2" Type="http://schemas.openxmlformats.org/officeDocument/2006/relationships/tags" Target="../tags/tag172.xml"/><Relationship Id="rId1" Type="http://schemas.openxmlformats.org/officeDocument/2006/relationships/vmlDrawing" Target="../drawings/vmlDrawing164.vml"/><Relationship Id="rId6" Type="http://schemas.openxmlformats.org/officeDocument/2006/relationships/image" Target="../media/image28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9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150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9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6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9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7" Type="http://schemas.openxmlformats.org/officeDocument/2006/relationships/image" Target="../media/image35.png"/><Relationship Id="rId2" Type="http://schemas.openxmlformats.org/officeDocument/2006/relationships/tags" Target="../tags/tag174.xml"/><Relationship Id="rId1" Type="http://schemas.openxmlformats.org/officeDocument/2006/relationships/vmlDrawing" Target="../drawings/vmlDrawing166.vml"/><Relationship Id="rId6" Type="http://schemas.openxmlformats.org/officeDocument/2006/relationships/image" Target="../media/image34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9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16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9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gif"/><Relationship Id="rId13" Type="http://schemas.openxmlformats.org/officeDocument/2006/relationships/image" Target="../media/image42.jpeg"/><Relationship Id="rId3" Type="http://schemas.openxmlformats.org/officeDocument/2006/relationships/slideLayout" Target="../slideLayouts/slideLayout63.xml"/><Relationship Id="rId7" Type="http://schemas.openxmlformats.org/officeDocument/2006/relationships/image" Target="../media/image37.png"/><Relationship Id="rId12" Type="http://schemas.microsoft.com/office/2007/relationships/hdphoto" Target="../media/hdphoto2.wdp"/><Relationship Id="rId2" Type="http://schemas.openxmlformats.org/officeDocument/2006/relationships/tags" Target="../tags/tag176.xml"/><Relationship Id="rId1" Type="http://schemas.openxmlformats.org/officeDocument/2006/relationships/vmlDrawing" Target="../drawings/vmlDrawing168.vml"/><Relationship Id="rId6" Type="http://schemas.openxmlformats.org/officeDocument/2006/relationships/image" Target="../media/image36.png"/><Relationship Id="rId11" Type="http://schemas.openxmlformats.org/officeDocument/2006/relationships/image" Target="../media/image41.png"/><Relationship Id="rId5" Type="http://schemas.openxmlformats.org/officeDocument/2006/relationships/image" Target="../media/image4.emf"/><Relationship Id="rId10" Type="http://schemas.openxmlformats.org/officeDocument/2006/relationships/image" Target="../media/image40.gif"/><Relationship Id="rId4" Type="http://schemas.openxmlformats.org/officeDocument/2006/relationships/oleObject" Target="../embeddings/oleObject150.bin"/><Relationship Id="rId9" Type="http://schemas.openxmlformats.org/officeDocument/2006/relationships/image" Target="../media/image39.gif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gif"/><Relationship Id="rId3" Type="http://schemas.openxmlformats.org/officeDocument/2006/relationships/slideLayout" Target="../slideLayouts/slideLayout87.xml"/><Relationship Id="rId7" Type="http://schemas.openxmlformats.org/officeDocument/2006/relationships/image" Target="../media/image43.gif"/><Relationship Id="rId2" Type="http://schemas.openxmlformats.org/officeDocument/2006/relationships/tags" Target="../tags/tag177.xml"/><Relationship Id="rId1" Type="http://schemas.openxmlformats.org/officeDocument/2006/relationships/vmlDrawing" Target="../drawings/vmlDrawing169.vml"/><Relationship Id="rId6" Type="http://schemas.openxmlformats.org/officeDocument/2006/relationships/hyperlink" Target="mailto:zaripovii@sibur.ru" TargetMode="External"/><Relationship Id="rId5" Type="http://schemas.openxmlformats.org/officeDocument/2006/relationships/image" Target="../media/image4.emf"/><Relationship Id="rId10" Type="http://schemas.openxmlformats.org/officeDocument/2006/relationships/image" Target="../media/image46.jpeg"/><Relationship Id="rId4" Type="http://schemas.openxmlformats.org/officeDocument/2006/relationships/oleObject" Target="../embeddings/oleObject151.bin"/><Relationship Id="rId9" Type="http://schemas.openxmlformats.org/officeDocument/2006/relationships/image" Target="../media/image4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15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9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18" Type="http://schemas.openxmlformats.org/officeDocument/2006/relationships/image" Target="../media/image17.png"/><Relationship Id="rId3" Type="http://schemas.openxmlformats.org/officeDocument/2006/relationships/slideLayout" Target="../slideLayouts/slideLayout31.xml"/><Relationship Id="rId7" Type="http://schemas.openxmlformats.org/officeDocument/2006/relationships/image" Target="../media/image7.png"/><Relationship Id="rId12" Type="http://schemas.openxmlformats.org/officeDocument/2006/relationships/image" Target="../media/image12.emf"/><Relationship Id="rId17" Type="http://schemas.openxmlformats.org/officeDocument/2006/relationships/image" Target="../media/image16.png"/><Relationship Id="rId2" Type="http://schemas.openxmlformats.org/officeDocument/2006/relationships/tags" Target="../tags/tag160.xml"/><Relationship Id="rId16" Type="http://schemas.openxmlformats.org/officeDocument/2006/relationships/image" Target="../media/image15.png"/><Relationship Id="rId1" Type="http://schemas.openxmlformats.org/officeDocument/2006/relationships/vmlDrawing" Target="../drawings/vmlDrawing152.v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4.emf"/><Relationship Id="rId15" Type="http://schemas.microsoft.com/office/2007/relationships/hdphoto" Target="../media/hdphoto1.wdp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149.bin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161.xml"/><Relationship Id="rId1" Type="http://schemas.openxmlformats.org/officeDocument/2006/relationships/vmlDrawing" Target="../drawings/vmlDrawing153.vml"/><Relationship Id="rId6" Type="http://schemas.openxmlformats.org/officeDocument/2006/relationships/image" Target="../media/image1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9.bin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31.xml"/><Relationship Id="rId7" Type="http://schemas.openxmlformats.org/officeDocument/2006/relationships/image" Target="../media/image20.jpg"/><Relationship Id="rId2" Type="http://schemas.openxmlformats.org/officeDocument/2006/relationships/tags" Target="../tags/tag162.xml"/><Relationship Id="rId1" Type="http://schemas.openxmlformats.org/officeDocument/2006/relationships/vmlDrawing" Target="../drawings/vmlDrawing154.vml"/><Relationship Id="rId6" Type="http://schemas.openxmlformats.org/officeDocument/2006/relationships/image" Target="../media/image1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9.bin"/><Relationship Id="rId9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15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15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136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4" name="Объект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Заголовок 15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сновные различия между стандартами ГОСТ, </a:t>
            </a:r>
            <a:r>
              <a:rPr lang="en-US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SO, ASTM</a:t>
            </a:r>
            <a:r>
              <a:rPr lang="ru-RU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ри испытании пластмасс</a:t>
            </a:r>
            <a:endParaRPr lang="ru-RU" sz="3600" b="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1584363" y="4824582"/>
            <a:ext cx="329472" cy="190393"/>
          </a:xfrm>
        </p:spPr>
        <p:txBody>
          <a:bodyPr/>
          <a:lstStyle/>
          <a:p>
            <a:endParaRPr lang="ru-RU" dirty="0">
              <a:solidFill>
                <a:schemeClr val="tx2">
                  <a:alpha val="0"/>
                </a:schemeClr>
              </a:solidFill>
            </a:endParaRPr>
          </a:p>
        </p:txBody>
      </p:sp>
      <p:sp>
        <p:nvSpPr>
          <p:cNvPr id="7" name="Текст 2"/>
          <p:cNvSpPr txBox="1">
            <a:spLocks/>
          </p:cNvSpPr>
          <p:nvPr/>
        </p:nvSpPr>
        <p:spPr bwMode="auto">
          <a:xfrm>
            <a:off x="358775" y="2688695"/>
            <a:ext cx="5866765" cy="1862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8986" rtl="0" eaLnBrk="1" latinLnBrk="0" hangingPunct="1">
              <a:defRPr sz="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89494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8986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479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7972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464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6957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6450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5943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ru-RU" sz="1200" dirty="0" smtClean="0"/>
              <a:t>Лукошко Елена</a:t>
            </a:r>
            <a:br>
              <a:rPr lang="ru-RU" sz="1200" dirty="0" smtClean="0"/>
            </a:br>
            <a:r>
              <a:rPr lang="ru-RU" sz="1200" b="0" dirty="0" smtClean="0"/>
              <a:t>Главный специалист</a:t>
            </a:r>
            <a:br>
              <a:rPr lang="ru-RU" sz="1200" b="0" dirty="0" smtClean="0"/>
            </a:br>
            <a:r>
              <a:rPr lang="ru-RU" sz="1200" b="0" dirty="0" smtClean="0"/>
              <a:t>Испытательный Центр</a:t>
            </a:r>
          </a:p>
          <a:p>
            <a:pPr>
              <a:spcAft>
                <a:spcPts val="600"/>
              </a:spcAft>
            </a:pPr>
            <a:r>
              <a:rPr lang="ru-RU" sz="1200" dirty="0" smtClean="0"/>
              <a:t>Брусина Юлия</a:t>
            </a:r>
            <a:br>
              <a:rPr lang="ru-RU" sz="1200" dirty="0" smtClean="0"/>
            </a:br>
            <a:r>
              <a:rPr lang="ru-RU" sz="1200" b="0" dirty="0" smtClean="0"/>
              <a:t>Главный эксперт</a:t>
            </a:r>
            <a:br>
              <a:rPr lang="ru-RU" sz="1200" b="0" dirty="0" smtClean="0"/>
            </a:br>
            <a:r>
              <a:rPr lang="ru-RU" sz="1200" b="0" dirty="0" smtClean="0"/>
              <a:t>Испытательный Центр</a:t>
            </a:r>
            <a:endParaRPr lang="ru-RU" sz="1200" b="0" dirty="0"/>
          </a:p>
        </p:txBody>
      </p:sp>
      <p:sp>
        <p:nvSpPr>
          <p:cNvPr id="8" name="Текст 4"/>
          <p:cNvSpPr txBox="1">
            <a:spLocks/>
          </p:cNvSpPr>
          <p:nvPr/>
        </p:nvSpPr>
        <p:spPr>
          <a:xfrm>
            <a:off x="358775" y="4651677"/>
            <a:ext cx="5866765" cy="34581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  <a:defRPr sz="1400" b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200" b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00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90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/>
            <a:r>
              <a:rPr lang="ru-RU" sz="1000" kern="0" dirty="0" smtClean="0"/>
              <a:t>Москва</a:t>
            </a:r>
          </a:p>
          <a:p>
            <a:pPr defTabSz="914400"/>
            <a:r>
              <a:rPr lang="ru-RU" sz="1000" kern="0" dirty="0" smtClean="0"/>
              <a:t>2022</a:t>
            </a:r>
            <a:endParaRPr lang="ru-RU" sz="1000" kern="0" dirty="0"/>
          </a:p>
        </p:txBody>
      </p:sp>
    </p:spTree>
    <p:extLst>
      <p:ext uri="{BB962C8B-B14F-4D97-AF65-F5344CB8AC3E}">
        <p14:creationId xmlns:p14="http://schemas.microsoft.com/office/powerpoint/2010/main" val="3999970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Объект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40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7" name="Объект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Номер слайда 2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44" name="Прямоугольник 43"/>
          <p:cNvSpPr/>
          <p:nvPr/>
        </p:nvSpPr>
        <p:spPr>
          <a:xfrm>
            <a:off x="310255" y="3952523"/>
            <a:ext cx="8873074" cy="586518"/>
          </a:xfrm>
          <a:prstGeom prst="rect">
            <a:avLst/>
          </a:prstGeom>
        </p:spPr>
        <p:txBody>
          <a:bodyPr wrap="square" lIns="77925" tIns="38963" rIns="77925" bIns="38963">
            <a:spAutoFit/>
          </a:bodyPr>
          <a:lstStyle/>
          <a:p>
            <a:r>
              <a:rPr lang="ru-RU" sz="1100" b="1" dirty="0" smtClean="0"/>
              <a:t>Факторы</a:t>
            </a:r>
            <a:r>
              <a:rPr lang="ru-RU" sz="1100" b="1" dirty="0"/>
              <a:t>, влияющие на результаты </a:t>
            </a:r>
            <a:r>
              <a:rPr lang="ru-RU" sz="1100" b="1" dirty="0" smtClean="0"/>
              <a:t>измерений 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100" dirty="0" smtClean="0">
                <a:solidFill>
                  <a:schemeClr val="accent1">
                    <a:lumMod val="75000"/>
                  </a:schemeClr>
                </a:solidFill>
                <a:sym typeface="Wingdings"/>
              </a:rPr>
              <a:t>Взвешивание	</a:t>
            </a:r>
            <a:r>
              <a:rPr lang="ru-RU" sz="1100" dirty="0">
                <a:solidFill>
                  <a:schemeClr val="accent1">
                    <a:lumMod val="75000"/>
                  </a:schemeClr>
                </a:solidFill>
                <a:sym typeface="Wingdings"/>
              </a:rPr>
              <a:t>	</a:t>
            </a:r>
            <a:r>
              <a:rPr lang="ru-RU" sz="1100" dirty="0">
                <a:solidFill>
                  <a:srgbClr val="008C95">
                    <a:lumMod val="75000"/>
                  </a:srgbClr>
                </a:solidFill>
                <a:sym typeface="Wingdings"/>
              </a:rPr>
              <a:t>  </a:t>
            </a:r>
            <a:r>
              <a:rPr lang="ru-RU" sz="1100" dirty="0" smtClean="0">
                <a:solidFill>
                  <a:schemeClr val="accent1">
                    <a:lumMod val="75000"/>
                  </a:schemeClr>
                </a:solidFill>
                <a:sym typeface="Wingdings"/>
              </a:rPr>
              <a:t>Качество поверхности образца	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100" dirty="0" smtClean="0">
                <a:solidFill>
                  <a:schemeClr val="accent1">
                    <a:lumMod val="75000"/>
                  </a:schemeClr>
                </a:solidFill>
                <a:sym typeface="Wingdings"/>
              </a:rPr>
              <a:t>Загрязнение образца 	 </a:t>
            </a:r>
            <a:r>
              <a:rPr lang="ru-RU" sz="1100" dirty="0" smtClean="0">
                <a:solidFill>
                  <a:srgbClr val="008C95">
                    <a:lumMod val="75000"/>
                  </a:srgbClr>
                </a:solidFill>
                <a:sym typeface="Wingdings"/>
              </a:rPr>
              <a:t></a:t>
            </a:r>
            <a:r>
              <a:rPr lang="ru-RU" sz="1100" dirty="0" smtClean="0">
                <a:solidFill>
                  <a:schemeClr val="accent1">
                    <a:lumMod val="75000"/>
                  </a:schemeClr>
                </a:solidFill>
                <a:sym typeface="Wingdings"/>
              </a:rPr>
              <a:t> Температура испытания</a:t>
            </a:r>
            <a:endParaRPr lang="ru-RU" sz="1100" dirty="0">
              <a:sym typeface="Wingdings"/>
            </a:endParaRPr>
          </a:p>
        </p:txBody>
      </p:sp>
      <p:graphicFrame>
        <p:nvGraphicFramePr>
          <p:cNvPr id="45" name="Таблица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9524518"/>
              </p:ext>
            </p:extLst>
          </p:nvPr>
        </p:nvGraphicFramePr>
        <p:xfrm>
          <a:off x="358775" y="1205259"/>
          <a:ext cx="8585243" cy="248643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834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909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4940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6143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1504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+mn-lt"/>
                        </a:rPr>
                        <a:t>Параметр сравнения</a:t>
                      </a:r>
                      <a:r>
                        <a:rPr lang="ru-RU" sz="1000" dirty="0">
                          <a:effectLst/>
                          <a:latin typeface="+mn-lt"/>
                        </a:rPr>
                        <a:t> </a:t>
                      </a:r>
                      <a:endParaRPr lang="ru-RU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+mn-lt"/>
                        </a:rPr>
                        <a:t>ГОСТ Р 5</a:t>
                      </a:r>
                      <a:r>
                        <a:rPr lang="ru-RU" sz="10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  <a:r>
                        <a:rPr lang="ru-RU" sz="1000" dirty="0" smtClean="0">
                          <a:latin typeface="+mn-lt"/>
                        </a:rPr>
                        <a:t>756-2015</a:t>
                      </a:r>
                      <a:endParaRPr lang="ru-RU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+mn-lt"/>
                        </a:rPr>
                        <a:t>ISO </a:t>
                      </a:r>
                      <a:r>
                        <a:rPr lang="ru-RU" sz="1000" dirty="0" smtClean="0">
                          <a:effectLst/>
                          <a:latin typeface="+mn-lt"/>
                        </a:rPr>
                        <a:t>11357-6-2018</a:t>
                      </a:r>
                      <a:endParaRPr lang="ru-RU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+mn-lt"/>
                        </a:rPr>
                        <a:t>ASTM </a:t>
                      </a:r>
                      <a:r>
                        <a:rPr lang="en-US" sz="1000" dirty="0" smtClean="0">
                          <a:effectLst/>
                          <a:latin typeface="+mn-lt"/>
                        </a:rPr>
                        <a:t>D</a:t>
                      </a:r>
                      <a:r>
                        <a:rPr lang="ru-RU" sz="1000" dirty="0" smtClean="0">
                          <a:effectLst/>
                          <a:latin typeface="+mn-lt"/>
                        </a:rPr>
                        <a:t>3895-2019</a:t>
                      </a:r>
                      <a:endParaRPr lang="ru-RU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542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</a:rPr>
                        <a:t>Толщина</a:t>
                      </a:r>
                      <a:r>
                        <a:rPr lang="ru-RU" sz="900" baseline="0" dirty="0" smtClean="0">
                          <a:effectLst/>
                          <a:latin typeface="+mn-lt"/>
                        </a:rPr>
                        <a:t> образца</a:t>
                      </a:r>
                      <a:r>
                        <a:rPr lang="ru-RU" sz="900" dirty="0" smtClean="0">
                          <a:effectLst/>
                          <a:latin typeface="+mn-lt"/>
                        </a:rPr>
                        <a:t>, мкм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</a:rPr>
                        <a:t>650±100</a:t>
                      </a:r>
                    </a:p>
                  </a:txBody>
                  <a:tcPr marL="33231" marR="33231" marT="0" marB="0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dirty="0" smtClean="0">
                        <a:effectLst/>
                        <a:latin typeface="+mn-lt"/>
                      </a:endParaRPr>
                    </a:p>
                  </a:txBody>
                  <a:tcPr marL="33231" marR="3323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</a:rPr>
                        <a:t>250</a:t>
                      </a:r>
                      <a:r>
                        <a:rPr lang="ru-RU" sz="900" baseline="0" dirty="0" smtClean="0">
                          <a:effectLst/>
                          <a:latin typeface="+mn-lt"/>
                        </a:rPr>
                        <a:t> ±15 </a:t>
                      </a:r>
                      <a:endParaRPr lang="ru-RU" sz="900" dirty="0">
                        <a:effectLst/>
                        <a:latin typeface="+mn-lt"/>
                      </a:endParaRPr>
                    </a:p>
                  </a:txBody>
                  <a:tcPr marL="33231" marR="33231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9350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</a:rPr>
                        <a:t>Температурная программа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Нагрев от</a:t>
                      </a: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 комнатной температуры </a:t>
                      </a: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до заданной температуры</a:t>
                      </a: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 испытания в среде азота</a:t>
                      </a:r>
                      <a:endParaRPr lang="ru-RU" sz="9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Изотерма в среде азот</a:t>
                      </a: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а – 3 минуты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Изотерма в среде кислорода или воздуха</a:t>
                      </a:r>
                      <a:endParaRPr lang="ru-RU" sz="9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Нагрев от</a:t>
                      </a: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 комнатной температуры </a:t>
                      </a: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до заданной температуры</a:t>
                      </a: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 испытания в среде азота</a:t>
                      </a:r>
                      <a:endParaRPr lang="ru-RU" sz="9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Изотерма в среде азот</a:t>
                      </a: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а – 5 минуты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Изотерма в среде кислорода или воздуха</a:t>
                      </a:r>
                      <a:endParaRPr lang="ru-RU" sz="9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0067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Окислительная среда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Кислород</a:t>
                      </a: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 либо воздух,</a:t>
                      </a:r>
                    </a:p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50</a:t>
                      </a:r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мл</a:t>
                      </a:r>
                      <a:r>
                        <a:rPr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/</a:t>
                      </a:r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мин</a:t>
                      </a:r>
                    </a:p>
                  </a:txBody>
                  <a:tcPr marL="33231" marR="33231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Кислород,</a:t>
                      </a:r>
                    </a:p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50</a:t>
                      </a:r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мл</a:t>
                      </a:r>
                      <a:r>
                        <a:rPr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/</a:t>
                      </a:r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мин</a:t>
                      </a:r>
                    </a:p>
                  </a:txBody>
                  <a:tcPr marL="33231" marR="33231" marT="0" marB="0" anchor="ctr"/>
                </a:tc>
                <a:extLst>
                  <a:ext uri="{0D108BD9-81ED-4DB2-BD59-A6C34878D82A}">
                    <a16:rowId xmlns:a16="http://schemas.microsoft.com/office/drawing/2014/main" val="4272328852"/>
                  </a:ext>
                </a:extLst>
              </a:tr>
              <a:tr h="181388">
                <a:tc>
                  <a:txBody>
                    <a:bodyPr/>
                    <a:lstStyle/>
                    <a:p>
                      <a:pPr marL="0" algn="l" defTabSz="779021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корость нагрева, </a:t>
                      </a: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⁰С</a:t>
                      </a:r>
                      <a:r>
                        <a:rPr lang="en-US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/</a:t>
                      </a: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мин</a:t>
                      </a: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endParaRPr lang="ru-RU" sz="9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231" marR="33231" marT="0" marB="0" anchor="ctr"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2</a:t>
                      </a: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0</a:t>
                      </a:r>
                    </a:p>
                  </a:txBody>
                  <a:tcPr marL="33231" marR="33231" marT="0" marB="0"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33231" marR="33231" marT="0" marB="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ru-RU" sz="9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extLst>
                  <a:ext uri="{0D108BD9-81ED-4DB2-BD59-A6C34878D82A}">
                    <a16:rowId xmlns:a16="http://schemas.microsoft.com/office/drawing/2014/main" val="2916369339"/>
                  </a:ext>
                </a:extLst>
              </a:tr>
              <a:tr h="201878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</a:rPr>
                        <a:t>Количество</a:t>
                      </a:r>
                      <a:r>
                        <a:rPr lang="ru-RU" sz="900" baseline="0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ru-RU" sz="900" dirty="0" smtClean="0">
                          <a:effectLst/>
                          <a:latin typeface="+mn-lt"/>
                        </a:rPr>
                        <a:t>параллельных</a:t>
                      </a:r>
                      <a:r>
                        <a:rPr lang="ru-RU" sz="900" baseline="0" dirty="0" smtClean="0">
                          <a:effectLst/>
                          <a:latin typeface="+mn-lt"/>
                        </a:rPr>
                        <a:t> испытаний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</a:rPr>
                        <a:t>2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ru-RU" sz="900" dirty="0">
                        <a:latin typeface="+mn-lt"/>
                      </a:endParaRPr>
                    </a:p>
                  </a:txBody>
                  <a:tcPr marL="33231" marR="33231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3993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</a:rPr>
                        <a:t>Точность</a:t>
                      </a:r>
                      <a:r>
                        <a:rPr lang="ru-RU" sz="900" baseline="0" dirty="0" smtClean="0">
                          <a:effectLst/>
                          <a:latin typeface="+mn-lt"/>
                        </a:rPr>
                        <a:t> выдаваемого р</a:t>
                      </a:r>
                      <a:r>
                        <a:rPr lang="ru-RU" sz="900" dirty="0" smtClean="0">
                          <a:effectLst/>
                          <a:latin typeface="+mn-lt"/>
                        </a:rPr>
                        <a:t>езультата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Calibri" panose="020F0502020204030204" pitchFamily="34" charset="0"/>
                        </a:rPr>
                        <a:t>3 значащие</a:t>
                      </a: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Calibri" panose="020F0502020204030204" pitchFamily="34" charset="0"/>
                        </a:rPr>
                        <a:t> цифры</a:t>
                      </a:r>
                      <a:endParaRPr lang="ru-RU" sz="900" dirty="0" smtClean="0">
                        <a:effectLst/>
                        <a:latin typeface="+mn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33231" marR="33231" marT="0" marB="0"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33231" marR="33231" marT="0" marB="0"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33231" marR="33231" marT="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46" name="Прямоугольник 45"/>
          <p:cNvSpPr/>
          <p:nvPr/>
        </p:nvSpPr>
        <p:spPr>
          <a:xfrm>
            <a:off x="361067" y="941906"/>
            <a:ext cx="8771450" cy="263353"/>
          </a:xfrm>
          <a:prstGeom prst="rect">
            <a:avLst/>
          </a:prstGeom>
        </p:spPr>
        <p:txBody>
          <a:bodyPr wrap="square" lIns="77925" tIns="38963" rIns="77925" bIns="38963">
            <a:spAutoFit/>
          </a:bodyPr>
          <a:lstStyle/>
          <a:p>
            <a:pPr lvl="0"/>
            <a:r>
              <a:rPr lang="ru-RU" sz="1200" b="1" dirty="0" smtClean="0">
                <a:solidFill>
                  <a:srgbClr val="003D4C"/>
                </a:solidFill>
              </a:rPr>
              <a:t>Ключевые отличия стандартов</a:t>
            </a:r>
            <a:endParaRPr lang="ru-RU" sz="1200" b="1" dirty="0">
              <a:solidFill>
                <a:srgbClr val="003D4C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366032" y="343631"/>
            <a:ext cx="8288457" cy="5372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fontAlgn="base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37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875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14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752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sz="1800" dirty="0"/>
              <a:t>Определение </a:t>
            </a:r>
            <a:r>
              <a:rPr lang="ru-RU" sz="1800" dirty="0" smtClean="0"/>
              <a:t>времени окислительной индукции</a:t>
            </a:r>
            <a:endParaRPr lang="ru-RU" sz="1800" dirty="0"/>
          </a:p>
          <a:p>
            <a:r>
              <a:rPr lang="ru-RU" sz="1800" dirty="0"/>
              <a:t>ГОСТ Р </a:t>
            </a:r>
            <a:r>
              <a:rPr lang="ru-RU" sz="1800" dirty="0" smtClean="0"/>
              <a:t>56756-2015, </a:t>
            </a:r>
            <a:r>
              <a:rPr lang="en-US" sz="1800" dirty="0"/>
              <a:t>ISO </a:t>
            </a:r>
            <a:r>
              <a:rPr lang="en-US" sz="1800" dirty="0" smtClean="0"/>
              <a:t>11357-</a:t>
            </a:r>
            <a:r>
              <a:rPr lang="ru-RU" sz="1800" dirty="0" smtClean="0"/>
              <a:t>6-2018</a:t>
            </a:r>
            <a:r>
              <a:rPr lang="en-US" sz="1800" dirty="0" smtClean="0"/>
              <a:t>, </a:t>
            </a:r>
            <a:r>
              <a:rPr lang="en-US" sz="1800" dirty="0"/>
              <a:t>ASTM </a:t>
            </a:r>
            <a:r>
              <a:rPr lang="en-US" sz="1800" dirty="0" smtClean="0"/>
              <a:t>D</a:t>
            </a:r>
            <a:r>
              <a:rPr lang="ru-RU" sz="1800" dirty="0" smtClean="0"/>
              <a:t>3895-2019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2195283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Прямоугольник 44"/>
          <p:cNvSpPr/>
          <p:nvPr/>
        </p:nvSpPr>
        <p:spPr bwMode="auto">
          <a:xfrm>
            <a:off x="365840" y="1136974"/>
            <a:ext cx="8417782" cy="3414388"/>
          </a:xfrm>
          <a:prstGeom prst="rect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17" name="Объект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544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7" name="Объект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Номер слайда 2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1</a:t>
            </a:fld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365840" y="346346"/>
            <a:ext cx="8288457" cy="558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fontAlgn="base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37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875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14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752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sz="1800" dirty="0"/>
              <a:t>Термогравиметрический анализ полимеров </a:t>
            </a:r>
            <a:endParaRPr lang="ru-RU" sz="1800" dirty="0" smtClean="0"/>
          </a:p>
          <a:p>
            <a:r>
              <a:rPr lang="ru-RU" sz="1800" dirty="0" smtClean="0"/>
              <a:t>ГОСТ </a:t>
            </a:r>
            <a:r>
              <a:rPr lang="en-US" sz="1800" dirty="0" smtClean="0"/>
              <a:t>IEC 60811-605-2016</a:t>
            </a:r>
            <a:r>
              <a:rPr lang="ru-RU" sz="1800" dirty="0" smtClean="0"/>
              <a:t>, </a:t>
            </a:r>
            <a:r>
              <a:rPr lang="en-US" sz="1800" dirty="0" smtClean="0"/>
              <a:t>ISO 6964</a:t>
            </a:r>
            <a:r>
              <a:rPr lang="ru-RU" sz="1800" dirty="0" smtClean="0"/>
              <a:t>-2019</a:t>
            </a:r>
            <a:r>
              <a:rPr lang="en-US" sz="1800" dirty="0" smtClean="0"/>
              <a:t> </a:t>
            </a:r>
            <a:r>
              <a:rPr lang="ru-RU" sz="1800" dirty="0" smtClean="0"/>
              <a:t>метод С.</a:t>
            </a:r>
            <a:endParaRPr lang="ru-RU" sz="18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366375" y="1136974"/>
            <a:ext cx="6014452" cy="769441"/>
          </a:xfrm>
          <a:prstGeom prst="rect">
            <a:avLst/>
          </a:prstGeom>
          <a:ln w="19050">
            <a:noFill/>
            <a:prstDash val="dash"/>
          </a:ln>
        </p:spPr>
        <p:txBody>
          <a:bodyPr wrap="square">
            <a:spAutoFit/>
          </a:bodyPr>
          <a:lstStyle/>
          <a:p>
            <a:pPr algn="just"/>
            <a:r>
              <a:rPr lang="ru-RU" sz="1400" b="1" dirty="0" smtClean="0"/>
              <a:t>Сущность метода</a:t>
            </a:r>
            <a:endParaRPr lang="ru-RU" sz="1400" b="1" dirty="0"/>
          </a:p>
          <a:p>
            <a:pPr defTabSz="779025">
              <a:defRPr/>
            </a:pPr>
            <a:r>
              <a:rPr lang="ru-RU" sz="1000" dirty="0"/>
              <a:t>Нагрев образца от комнатной температуры до </a:t>
            </a:r>
            <a:r>
              <a:rPr lang="ru-RU" sz="1000" dirty="0" smtClean="0"/>
              <a:t>заданной температуры с фиксированием изменения </a:t>
            </a:r>
            <a:r>
              <a:rPr lang="ru-RU" sz="1000" dirty="0"/>
              <a:t>массы </a:t>
            </a:r>
            <a:r>
              <a:rPr lang="ru-RU" sz="1000" dirty="0" smtClean="0"/>
              <a:t>образца как функцию температуры. </a:t>
            </a:r>
          </a:p>
          <a:p>
            <a:pPr defTabSz="779025">
              <a:defRPr/>
            </a:pPr>
            <a:endParaRPr lang="ru-RU" sz="1000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6818975" y="2720319"/>
            <a:ext cx="1903127" cy="239437"/>
          </a:xfrm>
          <a:prstGeom prst="rect">
            <a:avLst/>
          </a:prstGeom>
        </p:spPr>
        <p:txBody>
          <a:bodyPr wrap="square" lIns="77925" tIns="38963" rIns="77925" bIns="38963">
            <a:spAutoFit/>
          </a:bodyPr>
          <a:lstStyle/>
          <a:p>
            <a:pPr algn="ctr">
              <a:lnSpc>
                <a:spcPct val="114000"/>
              </a:lnSpc>
            </a:pPr>
            <a:r>
              <a:rPr lang="ru-RU" sz="1000" dirty="0" err="1" smtClean="0"/>
              <a:t>Термомикровесы</a:t>
            </a:r>
            <a:endParaRPr lang="en-US" sz="1000" dirty="0" smtClean="0"/>
          </a:p>
        </p:txBody>
      </p:sp>
      <p:sp>
        <p:nvSpPr>
          <p:cNvPr id="23" name="Прямоугольник 22"/>
          <p:cNvSpPr/>
          <p:nvPr/>
        </p:nvSpPr>
        <p:spPr>
          <a:xfrm>
            <a:off x="6981825" y="1089254"/>
            <a:ext cx="1276350" cy="263353"/>
          </a:xfrm>
          <a:prstGeom prst="rect">
            <a:avLst/>
          </a:prstGeom>
          <a:ln w="19050">
            <a:noFill/>
            <a:prstDash val="dash"/>
          </a:ln>
        </p:spPr>
        <p:txBody>
          <a:bodyPr wrap="square" lIns="77925" tIns="38963" rIns="77925" bIns="38963">
            <a:spAutoFit/>
          </a:bodyPr>
          <a:lstStyle/>
          <a:p>
            <a:r>
              <a:rPr lang="ru-RU" sz="1200" b="1" dirty="0" smtClean="0"/>
              <a:t>Оборудование</a:t>
            </a:r>
            <a:endParaRPr lang="ru-RU" sz="1200" b="1" dirty="0"/>
          </a:p>
        </p:txBody>
      </p:sp>
      <p:pic>
        <p:nvPicPr>
          <p:cNvPr id="44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338"/>
          <a:stretch/>
        </p:blipFill>
        <p:spPr bwMode="auto">
          <a:xfrm>
            <a:off x="2450415" y="2310567"/>
            <a:ext cx="2636640" cy="18366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Picture 2" descr="C:\Users\Mukhamadeevaag\Desktop\opt_LibraTGA209_neue_Frontfolie_6d4e46b52b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8976" y="1318827"/>
            <a:ext cx="1903126" cy="1425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1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Объект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443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7" name="Объект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Номер слайда 2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44" name="Прямоугольник 43"/>
          <p:cNvSpPr/>
          <p:nvPr/>
        </p:nvSpPr>
        <p:spPr>
          <a:xfrm>
            <a:off x="310255" y="3952523"/>
            <a:ext cx="8873074" cy="586518"/>
          </a:xfrm>
          <a:prstGeom prst="rect">
            <a:avLst/>
          </a:prstGeom>
        </p:spPr>
        <p:txBody>
          <a:bodyPr wrap="square" lIns="77925" tIns="38963" rIns="77925" bIns="38963">
            <a:spAutoFit/>
          </a:bodyPr>
          <a:lstStyle/>
          <a:p>
            <a:r>
              <a:rPr lang="ru-RU" sz="1100" b="1" dirty="0" smtClean="0"/>
              <a:t>Факторы</a:t>
            </a:r>
            <a:r>
              <a:rPr lang="ru-RU" sz="1100" b="1" dirty="0"/>
              <a:t>, влияющие на результаты </a:t>
            </a:r>
            <a:r>
              <a:rPr lang="ru-RU" sz="1100" b="1" dirty="0" smtClean="0"/>
              <a:t>измерений 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100" dirty="0" smtClean="0">
                <a:solidFill>
                  <a:schemeClr val="accent1">
                    <a:lumMod val="75000"/>
                  </a:schemeClr>
                </a:solidFill>
                <a:sym typeface="Wingdings"/>
              </a:rPr>
              <a:t>Взвешивание	</a:t>
            </a:r>
            <a:r>
              <a:rPr lang="ru-RU" sz="1100" dirty="0">
                <a:solidFill>
                  <a:schemeClr val="accent1">
                    <a:lumMod val="75000"/>
                  </a:schemeClr>
                </a:solidFill>
                <a:sym typeface="Wingdings"/>
              </a:rPr>
              <a:t>	</a:t>
            </a:r>
            <a:r>
              <a:rPr lang="ru-RU" sz="1100" dirty="0" smtClean="0">
                <a:solidFill>
                  <a:srgbClr val="008C95">
                    <a:lumMod val="75000"/>
                  </a:srgbClr>
                </a:solidFill>
                <a:sym typeface="Wingdings"/>
              </a:rPr>
              <a:t>  </a:t>
            </a:r>
            <a:r>
              <a:rPr lang="ru-RU" sz="1100" dirty="0" smtClean="0">
                <a:solidFill>
                  <a:schemeClr val="accent1">
                    <a:lumMod val="75000"/>
                  </a:schemeClr>
                </a:solidFill>
                <a:sym typeface="Wingdings"/>
              </a:rPr>
              <a:t>Тип продувочного газа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100" dirty="0" smtClean="0">
                <a:solidFill>
                  <a:schemeClr val="accent1">
                    <a:lumMod val="75000"/>
                  </a:schemeClr>
                </a:solidFill>
                <a:sym typeface="Wingdings"/>
              </a:rPr>
              <a:t>Загрязнение образца 	 </a:t>
            </a:r>
            <a:r>
              <a:rPr lang="ru-RU" sz="1100" dirty="0" smtClean="0">
                <a:solidFill>
                  <a:srgbClr val="008C95">
                    <a:lumMod val="75000"/>
                  </a:srgbClr>
                </a:solidFill>
                <a:sym typeface="Wingdings"/>
              </a:rPr>
              <a:t></a:t>
            </a:r>
            <a:r>
              <a:rPr lang="ru-RU" sz="1100" dirty="0" smtClean="0">
                <a:solidFill>
                  <a:schemeClr val="accent1">
                    <a:lumMod val="75000"/>
                  </a:schemeClr>
                </a:solidFill>
                <a:sym typeface="Wingdings"/>
              </a:rPr>
              <a:t> Шум и вибрации в помещении</a:t>
            </a:r>
            <a:endParaRPr lang="ru-RU" sz="1100" dirty="0">
              <a:sym typeface="Wingdings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361067" y="941906"/>
            <a:ext cx="8771450" cy="263353"/>
          </a:xfrm>
          <a:prstGeom prst="rect">
            <a:avLst/>
          </a:prstGeom>
        </p:spPr>
        <p:txBody>
          <a:bodyPr wrap="square" lIns="77925" tIns="38963" rIns="77925" bIns="38963">
            <a:spAutoFit/>
          </a:bodyPr>
          <a:lstStyle/>
          <a:p>
            <a:pPr lvl="0"/>
            <a:r>
              <a:rPr lang="ru-RU" sz="1200" b="1" dirty="0" smtClean="0">
                <a:solidFill>
                  <a:srgbClr val="003D4C"/>
                </a:solidFill>
              </a:rPr>
              <a:t>Ключевые отличия стандартов</a:t>
            </a:r>
            <a:endParaRPr lang="ru-RU" sz="1200" b="1" dirty="0">
              <a:solidFill>
                <a:srgbClr val="003D4C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366032" y="343631"/>
            <a:ext cx="8288457" cy="5372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fontAlgn="base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37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875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14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752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sz="1800" dirty="0"/>
              <a:t>Определение содержания технического углерода </a:t>
            </a:r>
          </a:p>
          <a:p>
            <a:r>
              <a:rPr lang="en-US" sz="1800" dirty="0"/>
              <a:t>ISO </a:t>
            </a:r>
            <a:r>
              <a:rPr lang="en-US" sz="1800" dirty="0" smtClean="0"/>
              <a:t>6964</a:t>
            </a:r>
            <a:r>
              <a:rPr lang="ru-RU" sz="1800" dirty="0" smtClean="0"/>
              <a:t>-2019 метод </a:t>
            </a:r>
            <a:r>
              <a:rPr lang="en-US" sz="1800" dirty="0" smtClean="0"/>
              <a:t>C</a:t>
            </a:r>
            <a:r>
              <a:rPr lang="ru-RU" sz="1800" dirty="0"/>
              <a:t>, ГОСТ </a:t>
            </a:r>
            <a:r>
              <a:rPr lang="en-US" sz="1800" dirty="0"/>
              <a:t>IEC 60811-605-2016</a:t>
            </a:r>
            <a:endParaRPr lang="ru-RU" sz="1800" dirty="0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6664245"/>
              </p:ext>
            </p:extLst>
          </p:nvPr>
        </p:nvGraphicFramePr>
        <p:xfrm>
          <a:off x="354918" y="1205259"/>
          <a:ext cx="8641175" cy="26300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94600">
                  <a:extLst>
                    <a:ext uri="{9D8B030D-6E8A-4147-A177-3AD203B41FA5}">
                      <a16:colId xmlns:a16="http://schemas.microsoft.com/office/drawing/2014/main" val="480286058"/>
                    </a:ext>
                  </a:extLst>
                </a:gridCol>
                <a:gridCol w="3516284">
                  <a:extLst>
                    <a:ext uri="{9D8B030D-6E8A-4147-A177-3AD203B41FA5}">
                      <a16:colId xmlns:a16="http://schemas.microsoft.com/office/drawing/2014/main" val="1521940613"/>
                    </a:ext>
                  </a:extLst>
                </a:gridCol>
                <a:gridCol w="3530291">
                  <a:extLst>
                    <a:ext uri="{9D8B030D-6E8A-4147-A177-3AD203B41FA5}">
                      <a16:colId xmlns:a16="http://schemas.microsoft.com/office/drawing/2014/main" val="2652541264"/>
                    </a:ext>
                  </a:extLst>
                </a:gridCol>
              </a:tblGrid>
              <a:tr h="193087"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Параметр сравнения</a:t>
                      </a:r>
                      <a:endParaRPr lang="ru-RU" sz="1000" dirty="0"/>
                    </a:p>
                  </a:txBody>
                  <a:tcP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ISO 6964-2019</a:t>
                      </a:r>
                      <a:r>
                        <a:rPr lang="ru-RU" sz="1000" dirty="0" smtClean="0"/>
                        <a:t>,</a:t>
                      </a:r>
                      <a:r>
                        <a:rPr lang="ru-RU" sz="1000" baseline="0" dirty="0" smtClean="0"/>
                        <a:t> метод </a:t>
                      </a:r>
                      <a:r>
                        <a:rPr lang="en-US" sz="1000" baseline="0" dirty="0" smtClean="0"/>
                        <a:t>C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ГОСТ </a:t>
                      </a:r>
                      <a:r>
                        <a:rPr lang="en-US" sz="1000" dirty="0" smtClean="0"/>
                        <a:t>IEC 60811-605-2016</a:t>
                      </a:r>
                      <a:r>
                        <a:rPr lang="ru-RU" sz="1000" dirty="0" smtClean="0"/>
                        <a:t>, метод </a:t>
                      </a:r>
                      <a:r>
                        <a:rPr lang="en-US" sz="1000" dirty="0" smtClean="0"/>
                        <a:t>B</a:t>
                      </a:r>
                      <a:endParaRPr lang="ru-RU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8579029"/>
                  </a:ext>
                </a:extLst>
              </a:tr>
              <a:tr h="308939">
                <a:tc>
                  <a:txBody>
                    <a:bodyPr/>
                    <a:lstStyle/>
                    <a:p>
                      <a:pPr algn="l"/>
                      <a:r>
                        <a:rPr lang="ru-RU" sz="900" b="1" dirty="0" smtClean="0">
                          <a:solidFill>
                            <a:schemeClr val="bg1"/>
                          </a:solidFill>
                        </a:rPr>
                        <a:t>Образцы для испытаний</a:t>
                      </a:r>
                      <a:endParaRPr lang="ru-RU" sz="9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87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/>
                        <a:t>Гранулы</a:t>
                      </a:r>
                      <a:r>
                        <a:rPr lang="ru-RU" sz="800" baseline="0" dirty="0" smtClean="0"/>
                        <a:t> или готовые изделия из </a:t>
                      </a:r>
                      <a:r>
                        <a:rPr lang="ru-RU" sz="800" dirty="0" smtClean="0"/>
                        <a:t>полиолефиновых</a:t>
                      </a:r>
                      <a:r>
                        <a:rPr lang="ru-RU" sz="800" baseline="0" dirty="0" smtClean="0"/>
                        <a:t> композитов</a:t>
                      </a:r>
                      <a:endParaRPr lang="ru-RU" sz="800" dirty="0" smtClean="0"/>
                    </a:p>
                    <a:p>
                      <a:r>
                        <a:rPr lang="ru-RU" sz="800" baseline="0" dirty="0" smtClean="0"/>
                        <a:t>с содержанием технического углерода более 2%</a:t>
                      </a:r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Композиции на основе </a:t>
                      </a:r>
                      <a:r>
                        <a:rPr lang="ru-RU" sz="800" baseline="0" dirty="0" smtClean="0"/>
                        <a:t>полиолефина</a:t>
                      </a:r>
                      <a:endParaRPr lang="ru-RU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1602993"/>
                  </a:ext>
                </a:extLst>
              </a:tr>
              <a:tr h="193087">
                <a:tc>
                  <a:txBody>
                    <a:bodyPr/>
                    <a:lstStyle/>
                    <a:p>
                      <a:pPr algn="l"/>
                      <a:r>
                        <a:rPr lang="ru-RU" sz="900" b="1" dirty="0" smtClean="0">
                          <a:solidFill>
                            <a:schemeClr val="bg1"/>
                          </a:solidFill>
                        </a:rPr>
                        <a:t>Кондиционирование</a:t>
                      </a:r>
                      <a:endParaRPr lang="ru-RU" sz="9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23 ± 2) °C</a:t>
                      </a:r>
                      <a:r>
                        <a:rPr lang="ru-RU" sz="8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800" dirty="0" smtClean="0"/>
                        <a:t>24 ч</a:t>
                      </a:r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800" strike="noStrike" dirty="0" smtClean="0"/>
                        <a:t>Не</a:t>
                      </a:r>
                      <a:r>
                        <a:rPr lang="ru-RU" sz="800" strike="noStrike" baseline="0" dirty="0" smtClean="0"/>
                        <a:t> предусмотрено</a:t>
                      </a:r>
                      <a:endParaRPr lang="ru-RU" sz="800" strike="noStrik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2960460"/>
                  </a:ext>
                </a:extLst>
              </a:tr>
              <a:tr h="193087">
                <a:tc>
                  <a:txBody>
                    <a:bodyPr/>
                    <a:lstStyle/>
                    <a:p>
                      <a:pPr algn="l"/>
                      <a:r>
                        <a:rPr lang="ru-RU" sz="900" b="1" dirty="0" smtClean="0">
                          <a:solidFill>
                            <a:schemeClr val="bg1"/>
                          </a:solidFill>
                        </a:rPr>
                        <a:t>Масса пробы</a:t>
                      </a:r>
                      <a:endParaRPr lang="ru-RU" sz="9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/>
                        <a:t>15-40 мг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5-10 </a:t>
                      </a:r>
                      <a:r>
                        <a:rPr lang="ru-RU" sz="800" dirty="0" smtClean="0"/>
                        <a:t>мг</a:t>
                      </a:r>
                      <a:endParaRPr lang="ru-RU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8720600"/>
                  </a:ext>
                </a:extLst>
              </a:tr>
              <a:tr h="334684">
                <a:tc>
                  <a:txBody>
                    <a:bodyPr/>
                    <a:lstStyle/>
                    <a:p>
                      <a:pPr algn="l"/>
                      <a:r>
                        <a:rPr lang="ru-RU" sz="900" b="1" dirty="0" smtClean="0">
                          <a:solidFill>
                            <a:schemeClr val="bg1"/>
                          </a:solidFill>
                        </a:rPr>
                        <a:t>Продувочные газы</a:t>
                      </a:r>
                    </a:p>
                  </a:txBody>
                  <a:tcP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Инертный газ</a:t>
                      </a:r>
                    </a:p>
                    <a:p>
                      <a:pPr marL="0" algn="l" defTabSz="779021" rtl="0" eaLnBrk="1" latinLnBrk="0" hangingPunct="1"/>
                      <a:r>
                        <a:rPr lang="ru-RU" sz="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Воздух/кислород</a:t>
                      </a:r>
                      <a:endParaRPr lang="ru-RU" sz="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Азот</a:t>
                      </a:r>
                    </a:p>
                    <a:p>
                      <a:r>
                        <a:rPr lang="ru-RU" sz="800" dirty="0" smtClean="0"/>
                        <a:t>«Синтетический воздух" (смесь 80% азота и 20% кислорода).</a:t>
                      </a:r>
                      <a:endParaRPr lang="ru-RU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2044052"/>
                  </a:ext>
                </a:extLst>
              </a:tr>
              <a:tr h="476063">
                <a:tc>
                  <a:txBody>
                    <a:bodyPr/>
                    <a:lstStyle/>
                    <a:p>
                      <a:pPr algn="l"/>
                      <a:r>
                        <a:rPr lang="ru-RU" sz="900" b="1" dirty="0" smtClean="0">
                          <a:solidFill>
                            <a:schemeClr val="bg1"/>
                          </a:solidFill>
                        </a:rPr>
                        <a:t>Температурная программа</a:t>
                      </a:r>
                      <a:endParaRPr lang="ru-RU" sz="9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ru-RU" sz="800" dirty="0" smtClean="0"/>
                        <a:t>Нагрев от 23</a:t>
                      </a:r>
                      <a:r>
                        <a:rPr lang="ru-RU" sz="8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°C до 800°C в среде инертного газа</a:t>
                      </a:r>
                    </a:p>
                    <a:p>
                      <a:pPr marL="0" indent="0">
                        <a:buFont typeface="+mj-lt"/>
                        <a:buNone/>
                      </a:pPr>
                      <a:r>
                        <a:rPr lang="ru-RU" sz="8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Изотерма при 800°C в течение 15 минут в среде инертного газа</a:t>
                      </a:r>
                    </a:p>
                    <a:p>
                      <a:pPr marL="0" indent="0">
                        <a:buFont typeface="+mj-lt"/>
                        <a:buNone/>
                      </a:pPr>
                      <a:r>
                        <a:rPr lang="ru-RU" sz="8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агрев от 800°C до 900°C в среде воздуха/кислорода</a:t>
                      </a:r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ru-RU" sz="8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агрев от 100°C до 850°C в среде азота</a:t>
                      </a:r>
                      <a:endParaRPr lang="ru-RU" sz="800" dirty="0" smtClean="0"/>
                    </a:p>
                    <a:p>
                      <a:pPr marL="0" indent="0">
                        <a:buNone/>
                      </a:pPr>
                      <a:r>
                        <a:rPr lang="ru-RU" sz="8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агрев от 850°C до 950°C в среде </a:t>
                      </a:r>
                      <a:r>
                        <a:rPr lang="ru-RU" sz="800" dirty="0" smtClean="0"/>
                        <a:t>«синтетического воздуха"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4012582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ru-RU" sz="900" b="1" dirty="0" smtClean="0">
                          <a:solidFill>
                            <a:schemeClr val="bg1"/>
                          </a:solidFill>
                        </a:rPr>
                        <a:t>Скорость нагрева, </a:t>
                      </a:r>
                      <a:r>
                        <a:rPr lang="ru-RU" sz="9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°C/мин </a:t>
                      </a:r>
                      <a:endParaRPr lang="ru-RU" sz="9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/>
                        <a:t>10 или 20</a:t>
                      </a:r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38055726"/>
                  </a:ext>
                </a:extLst>
              </a:tr>
              <a:tr h="386174">
                <a:tc>
                  <a:txBody>
                    <a:bodyPr/>
                    <a:lstStyle/>
                    <a:p>
                      <a:pPr algn="l"/>
                      <a:r>
                        <a:rPr lang="ru-RU" sz="900" b="1" dirty="0" smtClean="0">
                          <a:solidFill>
                            <a:schemeClr val="bg1"/>
                          </a:solidFill>
                        </a:rPr>
                        <a:t>Результат</a:t>
                      </a:r>
                      <a:endParaRPr lang="ru-RU" sz="9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Среднеарифметическое</a:t>
                      </a:r>
                      <a:r>
                        <a:rPr lang="ru-RU" sz="800" baseline="0" dirty="0" smtClean="0"/>
                        <a:t> 3 параллельных измерений, округленное д</a:t>
                      </a:r>
                      <a:r>
                        <a:rPr lang="ru-RU" sz="800" dirty="0" smtClean="0"/>
                        <a:t>о 2 значащих</a:t>
                      </a:r>
                      <a:r>
                        <a:rPr lang="ru-RU" sz="800" baseline="0" dirty="0" smtClean="0"/>
                        <a:t> </a:t>
                      </a:r>
                      <a:r>
                        <a:rPr lang="ru-RU" sz="800" dirty="0" smtClean="0"/>
                        <a:t>цифр</a:t>
                      </a:r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Нет</a:t>
                      </a:r>
                      <a:r>
                        <a:rPr lang="ru-RU" sz="800" baseline="0" dirty="0" smtClean="0"/>
                        <a:t> требований</a:t>
                      </a:r>
                      <a:endParaRPr lang="ru-RU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99011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56244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280251"/>
            <a:ext cx="6933411" cy="1412694"/>
          </a:xfrm>
        </p:spPr>
        <p:txBody>
          <a:bodyPr/>
          <a:lstStyle/>
          <a:p>
            <a:r>
              <a:rPr lang="ru-RU" dirty="0"/>
              <a:t>Оптическая микроскопия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365250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Прямоугольник 44"/>
          <p:cNvSpPr/>
          <p:nvPr/>
        </p:nvSpPr>
        <p:spPr bwMode="auto">
          <a:xfrm>
            <a:off x="365840" y="1139615"/>
            <a:ext cx="8417782" cy="3414388"/>
          </a:xfrm>
          <a:prstGeom prst="rect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17" name="Объект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646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7" name="Объект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Номер слайда 2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4</a:t>
            </a:fld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365840" y="346346"/>
            <a:ext cx="8288457" cy="558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fontAlgn="base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37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875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14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752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sz="1800" dirty="0" smtClean="0"/>
              <a:t>Оценка степени распределения технического углерода</a:t>
            </a:r>
            <a:endParaRPr lang="ru-RU" sz="18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366375" y="1136974"/>
            <a:ext cx="5846619" cy="769441"/>
          </a:xfrm>
          <a:prstGeom prst="rect">
            <a:avLst/>
          </a:prstGeom>
          <a:ln w="19050">
            <a:noFill/>
            <a:prstDash val="dash"/>
          </a:ln>
        </p:spPr>
        <p:txBody>
          <a:bodyPr wrap="square">
            <a:spAutoFit/>
          </a:bodyPr>
          <a:lstStyle/>
          <a:p>
            <a:pPr algn="just"/>
            <a:r>
              <a:rPr lang="ru-RU" sz="1400" b="1" dirty="0" smtClean="0"/>
              <a:t>Сущность метода</a:t>
            </a:r>
            <a:endParaRPr lang="ru-RU" sz="1400" b="1" dirty="0"/>
          </a:p>
          <a:p>
            <a:pPr defTabSz="779025">
              <a:defRPr/>
            </a:pPr>
            <a:r>
              <a:rPr lang="ru-RU" sz="1000" dirty="0"/>
              <a:t>Исследование прессованного между двумя стеклами образца или </a:t>
            </a:r>
            <a:r>
              <a:rPr lang="ru-RU" sz="1000" dirty="0" err="1"/>
              <a:t>микротомного</a:t>
            </a:r>
            <a:r>
              <a:rPr lang="ru-RU" sz="1000" dirty="0"/>
              <a:t> среза под микроскопом: определение размера частиц и агломератов, верификация с табличными данными. 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6981825" y="1089254"/>
            <a:ext cx="1276350" cy="263353"/>
          </a:xfrm>
          <a:prstGeom prst="rect">
            <a:avLst/>
          </a:prstGeom>
          <a:ln w="19050">
            <a:noFill/>
            <a:prstDash val="dash"/>
          </a:ln>
        </p:spPr>
        <p:txBody>
          <a:bodyPr wrap="square" lIns="77925" tIns="38963" rIns="77925" bIns="38963">
            <a:spAutoFit/>
          </a:bodyPr>
          <a:lstStyle/>
          <a:p>
            <a:r>
              <a:rPr lang="ru-RU" sz="1200" b="1" dirty="0" smtClean="0"/>
              <a:t>Оборудование</a:t>
            </a:r>
            <a:endParaRPr lang="ru-RU" sz="1200" b="1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6310891" y="3492038"/>
            <a:ext cx="2343406" cy="239437"/>
          </a:xfrm>
          <a:prstGeom prst="rect">
            <a:avLst/>
          </a:prstGeom>
        </p:spPr>
        <p:txBody>
          <a:bodyPr wrap="square" lIns="77925" tIns="38963" rIns="77925" bIns="38963">
            <a:spAutoFit/>
          </a:bodyPr>
          <a:lstStyle/>
          <a:p>
            <a:pPr algn="ctr">
              <a:lnSpc>
                <a:spcPct val="114000"/>
              </a:lnSpc>
            </a:pPr>
            <a:r>
              <a:rPr lang="ru-RU" sz="1000" dirty="0" smtClean="0"/>
              <a:t>Оптический микроскоп</a:t>
            </a:r>
            <a:endParaRPr lang="en-US" sz="1000" dirty="0" smtClean="0"/>
          </a:p>
        </p:txBody>
      </p:sp>
      <p:grpSp>
        <p:nvGrpSpPr>
          <p:cNvPr id="50" name="Группа 49"/>
          <p:cNvGrpSpPr/>
          <p:nvPr/>
        </p:nvGrpSpPr>
        <p:grpSpPr>
          <a:xfrm>
            <a:off x="756294" y="1989567"/>
            <a:ext cx="1853443" cy="2564435"/>
            <a:chOff x="393842" y="1246808"/>
            <a:chExt cx="2484156" cy="3362472"/>
          </a:xfrm>
        </p:grpSpPr>
        <p:pic>
          <p:nvPicPr>
            <p:cNvPr id="51" name="Рисунок 50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93842" y="1246808"/>
              <a:ext cx="2484156" cy="3260455"/>
            </a:xfrm>
            <a:prstGeom prst="rect">
              <a:avLst/>
            </a:prstGeom>
          </p:spPr>
        </p:pic>
        <p:sp>
          <p:nvSpPr>
            <p:cNvPr id="52" name="Нашивка 12"/>
            <p:cNvSpPr/>
            <p:nvPr/>
          </p:nvSpPr>
          <p:spPr bwMode="auto">
            <a:xfrm rot="5400000">
              <a:off x="789797" y="1968096"/>
              <a:ext cx="444398" cy="307798"/>
            </a:xfrm>
            <a:prstGeom prst="chevron">
              <a:avLst>
                <a:gd name="adj" fmla="val 102433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3" name="Нашивка 14"/>
            <p:cNvSpPr/>
            <p:nvPr/>
          </p:nvSpPr>
          <p:spPr bwMode="auto">
            <a:xfrm rot="5400000">
              <a:off x="1413721" y="3174475"/>
              <a:ext cx="444398" cy="307798"/>
            </a:xfrm>
            <a:prstGeom prst="chevron">
              <a:avLst>
                <a:gd name="adj" fmla="val 102433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4" name="Нашивка 13"/>
            <p:cNvSpPr/>
            <p:nvPr/>
          </p:nvSpPr>
          <p:spPr bwMode="auto">
            <a:xfrm rot="5400000">
              <a:off x="2031134" y="1968096"/>
              <a:ext cx="444398" cy="307798"/>
            </a:xfrm>
            <a:prstGeom prst="chevron">
              <a:avLst>
                <a:gd name="adj" fmla="val 102433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5" name="Нашивка 14"/>
            <p:cNvSpPr/>
            <p:nvPr/>
          </p:nvSpPr>
          <p:spPr bwMode="auto">
            <a:xfrm rot="5400000">
              <a:off x="1413721" y="4233182"/>
              <a:ext cx="444398" cy="307798"/>
            </a:xfrm>
            <a:prstGeom prst="chevron">
              <a:avLst>
                <a:gd name="adj" fmla="val 102433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6" name="Группа 55"/>
          <p:cNvGrpSpPr/>
          <p:nvPr/>
        </p:nvGrpSpPr>
        <p:grpSpPr>
          <a:xfrm>
            <a:off x="3256869" y="1989568"/>
            <a:ext cx="1986543" cy="2563017"/>
            <a:chOff x="2955009" y="1246809"/>
            <a:chExt cx="2662549" cy="3479496"/>
          </a:xfrm>
        </p:grpSpPr>
        <p:pic>
          <p:nvPicPr>
            <p:cNvPr id="57" name="Рисунок 56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955009" y="1246809"/>
              <a:ext cx="2662549" cy="3362472"/>
            </a:xfrm>
            <a:prstGeom prst="rect">
              <a:avLst/>
            </a:prstGeom>
          </p:spPr>
        </p:pic>
        <p:sp>
          <p:nvSpPr>
            <p:cNvPr id="58" name="Крест 57"/>
            <p:cNvSpPr/>
            <p:nvPr/>
          </p:nvSpPr>
          <p:spPr bwMode="auto">
            <a:xfrm rot="2700000" flipV="1">
              <a:off x="3502667" y="1992192"/>
              <a:ext cx="438087" cy="426723"/>
            </a:xfrm>
            <a:prstGeom prst="plus">
              <a:avLst>
                <a:gd name="adj" fmla="val 43160"/>
              </a:avLst>
            </a:prstGeom>
            <a:solidFill>
              <a:srgbClr val="FF000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Крест 58"/>
            <p:cNvSpPr/>
            <p:nvPr/>
          </p:nvSpPr>
          <p:spPr bwMode="auto">
            <a:xfrm rot="2700000" flipV="1">
              <a:off x="4129900" y="3176061"/>
              <a:ext cx="438087" cy="426723"/>
            </a:xfrm>
            <a:prstGeom prst="plus">
              <a:avLst>
                <a:gd name="adj" fmla="val 43160"/>
              </a:avLst>
            </a:prstGeom>
            <a:solidFill>
              <a:srgbClr val="FF000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Крест 59"/>
            <p:cNvSpPr/>
            <p:nvPr/>
          </p:nvSpPr>
          <p:spPr bwMode="auto">
            <a:xfrm rot="2700000" flipV="1">
              <a:off x="4863202" y="1992191"/>
              <a:ext cx="438087" cy="426723"/>
            </a:xfrm>
            <a:prstGeom prst="plus">
              <a:avLst>
                <a:gd name="adj" fmla="val 43160"/>
              </a:avLst>
            </a:prstGeom>
            <a:solidFill>
              <a:srgbClr val="FF000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Крест 60"/>
            <p:cNvSpPr/>
            <p:nvPr/>
          </p:nvSpPr>
          <p:spPr bwMode="auto">
            <a:xfrm rot="2700000" flipV="1">
              <a:off x="4155129" y="4293900"/>
              <a:ext cx="438087" cy="426723"/>
            </a:xfrm>
            <a:prstGeom prst="plus">
              <a:avLst>
                <a:gd name="adj" fmla="val 43160"/>
              </a:avLst>
            </a:prstGeom>
            <a:solidFill>
              <a:srgbClr val="FF000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pic>
        <p:nvPicPr>
          <p:cNvPr id="2" name="Рисунок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3795" y="1429921"/>
            <a:ext cx="2866824" cy="1991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324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Объект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749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7" name="Объект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Номер слайда 2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5</a:t>
            </a:fld>
            <a:endParaRPr lang="ru-RU" dirty="0"/>
          </a:p>
        </p:txBody>
      </p:sp>
      <p:sp>
        <p:nvSpPr>
          <p:cNvPr id="44" name="Прямоугольник 43"/>
          <p:cNvSpPr/>
          <p:nvPr/>
        </p:nvSpPr>
        <p:spPr>
          <a:xfrm>
            <a:off x="310255" y="3952523"/>
            <a:ext cx="8873074" cy="586518"/>
          </a:xfrm>
          <a:prstGeom prst="rect">
            <a:avLst/>
          </a:prstGeom>
        </p:spPr>
        <p:txBody>
          <a:bodyPr wrap="square" lIns="77925" tIns="38963" rIns="77925" bIns="38963">
            <a:spAutoFit/>
          </a:bodyPr>
          <a:lstStyle/>
          <a:p>
            <a:r>
              <a:rPr lang="ru-RU" sz="1100" b="1" dirty="0" smtClean="0"/>
              <a:t>Факторы</a:t>
            </a:r>
            <a:r>
              <a:rPr lang="ru-RU" sz="1100" b="1" dirty="0"/>
              <a:t>, влияющие на результаты </a:t>
            </a:r>
            <a:r>
              <a:rPr lang="ru-RU" sz="1100" b="1" dirty="0" smtClean="0"/>
              <a:t>измерений 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100" dirty="0" smtClean="0">
                <a:solidFill>
                  <a:schemeClr val="accent1">
                    <a:lumMod val="75000"/>
                  </a:schemeClr>
                </a:solidFill>
                <a:sym typeface="Wingdings"/>
              </a:rPr>
              <a:t>Толщина среза		</a:t>
            </a:r>
            <a:r>
              <a:rPr lang="ru-RU" sz="1100" dirty="0">
                <a:solidFill>
                  <a:schemeClr val="accent1">
                    <a:lumMod val="75000"/>
                  </a:schemeClr>
                </a:solidFill>
                <a:sym typeface="Wingdings"/>
              </a:rPr>
              <a:t>	</a:t>
            </a:r>
            <a:r>
              <a:rPr lang="ru-RU" sz="1100" dirty="0">
                <a:solidFill>
                  <a:srgbClr val="008C95">
                    <a:lumMod val="75000"/>
                  </a:srgbClr>
                </a:solidFill>
                <a:sym typeface="Wingdings"/>
              </a:rPr>
              <a:t> </a:t>
            </a:r>
            <a:r>
              <a:rPr lang="ru-RU" sz="1100" dirty="0" smtClean="0">
                <a:solidFill>
                  <a:srgbClr val="008C95">
                    <a:lumMod val="75000"/>
                  </a:srgbClr>
                </a:solidFill>
                <a:sym typeface="Wingdings"/>
              </a:rPr>
              <a:t> Человеческий фактор (</a:t>
            </a:r>
            <a:r>
              <a:rPr lang="ru-RU" sz="1100" dirty="0" smtClean="0">
                <a:solidFill>
                  <a:schemeClr val="accent1">
                    <a:lumMod val="75000"/>
                  </a:schemeClr>
                </a:solidFill>
                <a:sym typeface="Wingdings"/>
              </a:rPr>
              <a:t>Субъективность метода)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100" dirty="0" smtClean="0">
                <a:solidFill>
                  <a:schemeClr val="accent1">
                    <a:lumMod val="75000"/>
                  </a:schemeClr>
                </a:solidFill>
                <a:sym typeface="Wingdings"/>
              </a:rPr>
              <a:t>Загрязнение образца</a:t>
            </a: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  <a:sym typeface="Wingdings"/>
              </a:rPr>
              <a:t>/</a:t>
            </a:r>
            <a:r>
              <a:rPr lang="ru-RU" sz="1100" dirty="0" smtClean="0">
                <a:solidFill>
                  <a:schemeClr val="accent1">
                    <a:lumMod val="75000"/>
                  </a:schemeClr>
                </a:solidFill>
                <a:sym typeface="Wingdings"/>
              </a:rPr>
              <a:t>предметного стекла	</a:t>
            </a:r>
            <a:endParaRPr lang="ru-RU" sz="1100" dirty="0">
              <a:sym typeface="Wingdings"/>
            </a:endParaRPr>
          </a:p>
        </p:txBody>
      </p:sp>
      <p:graphicFrame>
        <p:nvGraphicFramePr>
          <p:cNvPr id="45" name="Таблица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9716796"/>
              </p:ext>
            </p:extLst>
          </p:nvPr>
        </p:nvGraphicFramePr>
        <p:xfrm>
          <a:off x="358775" y="1205259"/>
          <a:ext cx="8585244" cy="211910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834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267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7502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1504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+mn-lt"/>
                        </a:rPr>
                        <a:t>Параметр сравнения</a:t>
                      </a:r>
                      <a:r>
                        <a:rPr lang="ru-RU" sz="1000" dirty="0">
                          <a:effectLst/>
                          <a:latin typeface="+mn-lt"/>
                        </a:rPr>
                        <a:t> </a:t>
                      </a:r>
                      <a:endParaRPr lang="ru-RU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latin typeface="+mn-lt"/>
                        </a:rPr>
                        <a:t>ISO 18553</a:t>
                      </a:r>
                      <a:r>
                        <a:rPr lang="ru-RU" sz="1000" dirty="0" smtClean="0">
                          <a:latin typeface="+mn-lt"/>
                        </a:rPr>
                        <a:t>-2002</a:t>
                      </a:r>
                      <a:endParaRPr lang="ru-RU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ГОСТ</a:t>
                      </a:r>
                      <a:r>
                        <a:rPr lang="ru-RU" sz="1000" baseline="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 16338-85 п.5.18</a:t>
                      </a:r>
                      <a:endParaRPr lang="ru-RU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542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</a:rPr>
                        <a:t>Толщина</a:t>
                      </a:r>
                      <a:r>
                        <a:rPr lang="ru-RU" sz="900" baseline="0" dirty="0" smtClean="0">
                          <a:effectLst/>
                          <a:latin typeface="+mn-lt"/>
                        </a:rPr>
                        <a:t> образца</a:t>
                      </a:r>
                      <a:r>
                        <a:rPr lang="ru-RU" sz="900" dirty="0" smtClean="0">
                          <a:effectLst/>
                          <a:latin typeface="+mn-lt"/>
                        </a:rPr>
                        <a:t>, мкм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</a:rPr>
                        <a:t>20±10</a:t>
                      </a:r>
                    </a:p>
                  </a:txBody>
                  <a:tcPr marL="33231" marR="3323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</a:rPr>
                        <a:t>45±5</a:t>
                      </a:r>
                    </a:p>
                  </a:txBody>
                  <a:tcPr marL="33231" marR="33231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9350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</a:rPr>
                        <a:t>Метод </a:t>
                      </a:r>
                      <a:r>
                        <a:rPr lang="ru-RU" sz="900" dirty="0" err="1" smtClean="0">
                          <a:effectLst/>
                          <a:latin typeface="+mn-lt"/>
                        </a:rPr>
                        <a:t>пробоподготовки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1. </a:t>
                      </a:r>
                      <a:r>
                        <a:rPr lang="ru-RU" sz="900" dirty="0" err="1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Микротомные</a:t>
                      </a: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 срезы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Либо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2. Прессование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endParaRPr lang="ru-RU" sz="9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err="1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Микротомные</a:t>
                      </a: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 срезы нагревают на электрической плитке при (185±5)⁰С в</a:t>
                      </a: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 течение 1 минуты без давления и 1 мин под давлением груза 2,5 кг.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1388">
                <a:tc>
                  <a:txBody>
                    <a:bodyPr/>
                    <a:lstStyle/>
                    <a:p>
                      <a:pPr marL="0" algn="l" defTabSz="779021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ипы распределения </a:t>
                      </a:r>
                      <a:endParaRPr lang="ru-RU" sz="9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231" marR="3323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А1, А2, А3,</a:t>
                      </a:r>
                      <a:r>
                        <a:rPr lang="en-US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 B</a:t>
                      </a: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, </a:t>
                      </a:r>
                      <a:r>
                        <a:rPr lang="en-US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C1</a:t>
                      </a: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, С2, </a:t>
                      </a:r>
                      <a:r>
                        <a:rPr lang="en-US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D</a:t>
                      </a: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, </a:t>
                      </a:r>
                      <a:r>
                        <a:rPr lang="en-US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E</a:t>
                      </a:r>
                      <a:endParaRPr lang="ru-RU" sz="9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I</a:t>
                      </a:r>
                      <a:r>
                        <a:rPr lang="ru-RU" sz="9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, </a:t>
                      </a:r>
                      <a:r>
                        <a:rPr lang="en-US" sz="9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II</a:t>
                      </a:r>
                      <a:r>
                        <a:rPr lang="ru-RU" sz="9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, </a:t>
                      </a:r>
                      <a:r>
                        <a:rPr lang="en-US" sz="9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III</a:t>
                      </a:r>
                      <a:endParaRPr lang="ru-RU" sz="900" kern="1200" baseline="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extLst>
                  <a:ext uri="{0D108BD9-81ED-4DB2-BD59-A6C34878D82A}">
                    <a16:rowId xmlns:a16="http://schemas.microsoft.com/office/drawing/2014/main" val="2916369339"/>
                  </a:ext>
                </a:extLst>
              </a:tr>
              <a:tr h="201878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</a:rPr>
                        <a:t>Количество</a:t>
                      </a:r>
                      <a:r>
                        <a:rPr lang="ru-RU" sz="900" baseline="0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ru-RU" sz="900" dirty="0" smtClean="0">
                          <a:effectLst/>
                          <a:latin typeface="+mn-lt"/>
                        </a:rPr>
                        <a:t>образцов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6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3-4 </a:t>
                      </a:r>
                      <a:r>
                        <a:rPr lang="ru-RU" sz="900" dirty="0" err="1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микросреза</a:t>
                      </a: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 от </a:t>
                      </a: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3-5 гранул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3993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</a:rPr>
                        <a:t>Результат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Calibri" panose="020F0502020204030204" pitchFamily="34" charset="0"/>
                        </a:rPr>
                        <a:t>Класс </a:t>
                      </a: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Calibri" panose="020F0502020204030204" pitchFamily="34" charset="0"/>
                        </a:rPr>
                        <a:t>распределения (среднеарифметическое значение с указанием индивидуальных значений)</a:t>
                      </a:r>
                      <a:endParaRPr lang="ru-RU" sz="900" dirty="0" smtClean="0">
                        <a:effectLst/>
                        <a:latin typeface="+mn-lt"/>
                        <a:ea typeface="Calibri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Calibri" panose="020F0502020204030204" pitchFamily="34" charset="0"/>
                        </a:rPr>
                        <a:t>Тип распределения</a:t>
                      </a:r>
                      <a:r>
                        <a:rPr lang="en-US" sz="900" baseline="0" dirty="0" smtClean="0">
                          <a:effectLst/>
                          <a:latin typeface="+mn-lt"/>
                          <a:ea typeface="Calibri"/>
                          <a:cs typeface="Calibri" panose="020F0502020204030204" pitchFamily="34" charset="0"/>
                        </a:rPr>
                        <a:t> – </a:t>
                      </a: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Calibri" panose="020F0502020204030204" pitchFamily="34" charset="0"/>
                        </a:rPr>
                        <a:t>преобладающий </a:t>
                      </a:r>
                      <a:endParaRPr lang="ru-RU" sz="900" dirty="0" smtClean="0">
                        <a:effectLst/>
                        <a:latin typeface="+mn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33231" marR="33231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Calibri" panose="020F0502020204030204" pitchFamily="34" charset="0"/>
                        </a:rPr>
                        <a:t>Тип распределения</a:t>
                      </a:r>
                    </a:p>
                  </a:txBody>
                  <a:tcPr marL="33231" marR="33231" marT="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46" name="Прямоугольник 45"/>
          <p:cNvSpPr/>
          <p:nvPr/>
        </p:nvSpPr>
        <p:spPr>
          <a:xfrm>
            <a:off x="361067" y="941906"/>
            <a:ext cx="8771450" cy="263353"/>
          </a:xfrm>
          <a:prstGeom prst="rect">
            <a:avLst/>
          </a:prstGeom>
        </p:spPr>
        <p:txBody>
          <a:bodyPr wrap="square" lIns="77925" tIns="38963" rIns="77925" bIns="38963">
            <a:spAutoFit/>
          </a:bodyPr>
          <a:lstStyle/>
          <a:p>
            <a:pPr lvl="0"/>
            <a:r>
              <a:rPr lang="ru-RU" sz="1200" b="1" dirty="0" smtClean="0">
                <a:solidFill>
                  <a:srgbClr val="003D4C"/>
                </a:solidFill>
              </a:rPr>
              <a:t>Ключевые отличия стандартов</a:t>
            </a:r>
            <a:endParaRPr lang="ru-RU" sz="1200" b="1" dirty="0">
              <a:solidFill>
                <a:srgbClr val="003D4C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366032" y="343631"/>
            <a:ext cx="8288457" cy="5372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fontAlgn="base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37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875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14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752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sz="1800" dirty="0"/>
              <a:t>Оценка степени распределения технического углерода</a:t>
            </a:r>
          </a:p>
          <a:p>
            <a:r>
              <a:rPr lang="en-US" sz="1800" dirty="0" smtClean="0"/>
              <a:t>ISO 18553</a:t>
            </a:r>
            <a:r>
              <a:rPr lang="ru-RU" sz="1800" dirty="0" smtClean="0"/>
              <a:t>-2002, ГОСТ 16338-85 п.5.18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1929181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280251"/>
            <a:ext cx="6933411" cy="1412694"/>
          </a:xfrm>
        </p:spPr>
        <p:txBody>
          <a:bodyPr/>
          <a:lstStyle/>
          <a:p>
            <a:r>
              <a:rPr lang="ru-RU" dirty="0" err="1" smtClean="0"/>
              <a:t>Препаративные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методы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38049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Прямоугольник 44"/>
          <p:cNvSpPr/>
          <p:nvPr/>
        </p:nvSpPr>
        <p:spPr bwMode="auto">
          <a:xfrm>
            <a:off x="367443" y="1131888"/>
            <a:ext cx="8417782" cy="3414388"/>
          </a:xfrm>
          <a:prstGeom prst="rect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algn="just" defTabSz="778632"/>
            <a:endParaRPr lang="ru-RU" sz="1000" dirty="0">
              <a:solidFill>
                <a:prstClr val="black"/>
              </a:solidFill>
            </a:endParaRPr>
          </a:p>
        </p:txBody>
      </p:sp>
      <p:graphicFrame>
        <p:nvGraphicFramePr>
          <p:cNvPr id="17" name="Объект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953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7" name="Объект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Номер слайда 2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7</a:t>
            </a:fld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365840" y="346346"/>
            <a:ext cx="8288457" cy="558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fontAlgn="base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37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875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14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752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sz="1800" dirty="0" smtClean="0"/>
              <a:t>Определение массовой доли летучих веществ</a:t>
            </a:r>
          </a:p>
          <a:p>
            <a:r>
              <a:rPr lang="ru-RU" sz="1800" dirty="0"/>
              <a:t>ГОСТ </a:t>
            </a:r>
            <a:r>
              <a:rPr lang="ru-RU" sz="1800" dirty="0" smtClean="0"/>
              <a:t>26359-1984,</a:t>
            </a:r>
            <a:r>
              <a:rPr lang="en-US" sz="1800" dirty="0" smtClean="0"/>
              <a:t> </a:t>
            </a:r>
            <a:r>
              <a:rPr lang="en-US" sz="1800" dirty="0"/>
              <a:t>ÖNORM EN </a:t>
            </a:r>
            <a:r>
              <a:rPr lang="en-US" sz="1800" dirty="0" smtClean="0"/>
              <a:t>12099</a:t>
            </a:r>
            <a:r>
              <a:rPr lang="ru-RU" sz="1800" dirty="0" smtClean="0"/>
              <a:t>-1997</a:t>
            </a:r>
            <a:r>
              <a:rPr lang="en-US" sz="1800" dirty="0" smtClean="0"/>
              <a:t> </a:t>
            </a:r>
            <a:endParaRPr lang="ru-RU" sz="1800" dirty="0"/>
          </a:p>
          <a:p>
            <a:endParaRPr lang="ru-RU" sz="1800" dirty="0"/>
          </a:p>
          <a:p>
            <a:endParaRPr lang="ru-RU" sz="18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366375" y="1136974"/>
            <a:ext cx="5846619" cy="461665"/>
          </a:xfrm>
          <a:prstGeom prst="rect">
            <a:avLst/>
          </a:prstGeom>
          <a:ln w="19050">
            <a:noFill/>
            <a:prstDash val="dash"/>
          </a:ln>
        </p:spPr>
        <p:txBody>
          <a:bodyPr wrap="square">
            <a:spAutoFit/>
          </a:bodyPr>
          <a:lstStyle/>
          <a:p>
            <a:pPr algn="just"/>
            <a:r>
              <a:rPr lang="ru-RU" sz="1400" b="1" dirty="0" smtClean="0"/>
              <a:t>Сущность метода</a:t>
            </a:r>
            <a:endParaRPr lang="ru-RU" sz="1400" b="1" dirty="0"/>
          </a:p>
          <a:p>
            <a:pPr defTabSz="779025">
              <a:defRPr/>
            </a:pPr>
            <a:r>
              <a:rPr lang="ru-RU" sz="1000" dirty="0"/>
              <a:t>Определение потери массы испытуемого материала после сушки при (105±2) °С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6981825" y="1089254"/>
            <a:ext cx="1276350" cy="263353"/>
          </a:xfrm>
          <a:prstGeom prst="rect">
            <a:avLst/>
          </a:prstGeom>
          <a:ln w="19050">
            <a:noFill/>
            <a:prstDash val="dash"/>
          </a:ln>
        </p:spPr>
        <p:txBody>
          <a:bodyPr wrap="square" lIns="77925" tIns="38963" rIns="77925" bIns="38963">
            <a:spAutoFit/>
          </a:bodyPr>
          <a:lstStyle/>
          <a:p>
            <a:r>
              <a:rPr lang="ru-RU" sz="1200" b="1" dirty="0" smtClean="0"/>
              <a:t>Оборудование</a:t>
            </a:r>
            <a:endParaRPr lang="ru-RU" sz="1200" b="1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6373518" y="3765404"/>
            <a:ext cx="2343406" cy="239437"/>
          </a:xfrm>
          <a:prstGeom prst="rect">
            <a:avLst/>
          </a:prstGeom>
        </p:spPr>
        <p:txBody>
          <a:bodyPr wrap="square" lIns="77925" tIns="38963" rIns="77925" bIns="38963">
            <a:spAutoFit/>
          </a:bodyPr>
          <a:lstStyle/>
          <a:p>
            <a:pPr algn="ctr">
              <a:lnSpc>
                <a:spcPct val="114000"/>
              </a:lnSpc>
            </a:pPr>
            <a:r>
              <a:rPr lang="ru-RU" sz="1000" dirty="0" smtClean="0"/>
              <a:t>Сушильный шкаф</a:t>
            </a:r>
            <a:endParaRPr lang="en-US" sz="1000" dirty="0" smtClean="0"/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22"/>
          <a:stretch/>
        </p:blipFill>
        <p:spPr>
          <a:xfrm>
            <a:off x="6220653" y="1138393"/>
            <a:ext cx="2562647" cy="2583150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6135" y="1634769"/>
            <a:ext cx="2106666" cy="1096563"/>
          </a:xfrm>
          <a:prstGeom prst="rect">
            <a:avLst/>
          </a:prstGeom>
        </p:spPr>
      </p:pic>
      <p:pic>
        <p:nvPicPr>
          <p:cNvPr id="27" name="Picture 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4135" y="2731332"/>
            <a:ext cx="1291865" cy="1540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Прямоугольник 27"/>
          <p:cNvSpPr/>
          <p:nvPr/>
        </p:nvSpPr>
        <p:spPr>
          <a:xfrm>
            <a:off x="365841" y="1703320"/>
            <a:ext cx="3617096" cy="923330"/>
          </a:xfrm>
          <a:prstGeom prst="rect">
            <a:avLst/>
          </a:prstGeom>
          <a:ln w="19050">
            <a:noFill/>
            <a:prstDash val="dash"/>
          </a:ln>
        </p:spPr>
        <p:txBody>
          <a:bodyPr wrap="square">
            <a:spAutoFit/>
          </a:bodyPr>
          <a:lstStyle/>
          <a:p>
            <a:pPr algn="just"/>
            <a:r>
              <a:rPr lang="ru-RU" sz="1400" b="1" dirty="0" smtClean="0"/>
              <a:t>Проведение испытания</a:t>
            </a:r>
            <a:endParaRPr lang="ru-RU" sz="1400" b="1" dirty="0"/>
          </a:p>
          <a:p>
            <a:pPr defTabSz="779025">
              <a:defRPr/>
            </a:pPr>
            <a:r>
              <a:rPr lang="ru-RU" sz="1000" dirty="0" smtClean="0"/>
              <a:t>Образец помещают </a:t>
            </a:r>
            <a:r>
              <a:rPr lang="ru-RU" sz="1000" dirty="0"/>
              <a:t>в высушенный и охлажденный </a:t>
            </a:r>
            <a:r>
              <a:rPr lang="ru-RU" sz="1000" dirty="0" smtClean="0"/>
              <a:t>стаканчик, </a:t>
            </a:r>
            <a:r>
              <a:rPr lang="ru-RU" sz="1000" dirty="0"/>
              <a:t>взвешивают </a:t>
            </a:r>
            <a:r>
              <a:rPr lang="ru-RU" sz="1000" dirty="0" smtClean="0"/>
              <a:t>и сушат в сушильном шкафу при заданной температуре. </a:t>
            </a:r>
            <a:r>
              <a:rPr lang="ru-RU" sz="1000" dirty="0"/>
              <a:t>Затем стаканчик с навеской охлаждают в эксикаторе </a:t>
            </a:r>
            <a:r>
              <a:rPr lang="ru-RU" sz="1000" dirty="0" smtClean="0"/>
              <a:t>и </a:t>
            </a:r>
            <a:r>
              <a:rPr lang="ru-RU" sz="1000" dirty="0"/>
              <a:t>взвешивают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Прямоугольник 1"/>
              <p:cNvSpPr/>
              <p:nvPr/>
            </p:nvSpPr>
            <p:spPr>
              <a:xfrm>
                <a:off x="358775" y="2670934"/>
                <a:ext cx="3624161" cy="107555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just" defTabSz="778632"/>
                <a:r>
                  <a:rPr lang="ru-RU" sz="1400" b="1" dirty="0" smtClean="0"/>
                  <a:t>Массовая доля летучих веществ</a:t>
                </a:r>
                <a:r>
                  <a:rPr lang="en-US" sz="1400" b="1" dirty="0"/>
                  <a:t> </a:t>
                </a:r>
                <a:r>
                  <a:rPr lang="ru-RU" sz="1400" b="1" dirty="0"/>
                  <a:t>(</a:t>
                </a:r>
                <a:r>
                  <a:rPr lang="en-US" sz="1400" b="1" dirty="0"/>
                  <a:t>X), %</a:t>
                </a:r>
                <a:endParaRPr lang="ru-RU" sz="1400" b="1" dirty="0"/>
              </a:p>
              <a:p>
                <a:pPr lvl="0" algn="just" defTabSz="778632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000" dirty="0"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en-US" sz="1000" dirty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l-GR" sz="1000" i="1" dirty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el-GR" sz="1000" i="1" dirty="0" smtClean="0">
                              <a:latin typeface="Cambria Math" panose="02040503050406030204" pitchFamily="18" charset="0"/>
                            </a:rPr>
                            <m:t>Δ</m:t>
                          </m:r>
                          <m:r>
                            <m:rPr>
                              <m:sty m:val="p"/>
                            </m:rPr>
                            <a:rPr lang="en-US" sz="1000" b="0" i="0" dirty="0" smtClean="0">
                              <a:latin typeface="Cambria Math" panose="02040503050406030204" pitchFamily="18" charset="0"/>
                            </a:rPr>
                            <m:t>m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en-US" sz="1000" dirty="0">
                              <a:latin typeface="Cambria Math" panose="02040503050406030204" pitchFamily="18" charset="0"/>
                            </a:rPr>
                            <m:t>m</m:t>
                          </m:r>
                          <m:r>
                            <a:rPr lang="ru-RU" sz="1000" b="0" i="0" baseline="-25000" dirty="0" smtClean="0">
                              <a:latin typeface="Cambria Math" panose="02040503050406030204" pitchFamily="18" charset="0"/>
                            </a:rPr>
                            <m:t>обр</m:t>
                          </m:r>
                        </m:den>
                      </m:f>
                      <m:r>
                        <a:rPr lang="ru-RU" sz="1000" dirty="0">
                          <a:latin typeface="Cambria Math" panose="02040503050406030204" pitchFamily="18" charset="0"/>
                        </a:rPr>
                        <m:t> ×</m:t>
                      </m:r>
                      <m:r>
                        <a:rPr lang="en-US" sz="1000" dirty="0">
                          <a:latin typeface="Cambria Math" panose="02040503050406030204" pitchFamily="18" charset="0"/>
                        </a:rPr>
                        <m:t>100</m:t>
                      </m:r>
                    </m:oMath>
                  </m:oMathPara>
                </a14:m>
                <a:endParaRPr lang="ru-RU" sz="1000" dirty="0"/>
              </a:p>
              <a:p>
                <a:pPr algn="just" defTabSz="778632"/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sz="1000" i="1" dirty="0">
                        <a:latin typeface="Cambria Math" panose="02040503050406030204" pitchFamily="18" charset="0"/>
                      </a:rPr>
                      <m:t>Δ</m:t>
                    </m:r>
                  </m:oMath>
                </a14:m>
                <a:r>
                  <a:rPr lang="en-US" sz="1000" dirty="0" smtClean="0"/>
                  <a:t>m</a:t>
                </a:r>
                <a:r>
                  <a:rPr lang="ru-RU" sz="1000" dirty="0" smtClean="0"/>
                  <a:t> – изменение массы стаканчика с образцом до и после сушки, г;</a:t>
                </a:r>
              </a:p>
              <a:p>
                <a:pPr algn="just" defTabSz="778632"/>
                <a:r>
                  <a:rPr lang="en-US" sz="1000" dirty="0" smtClean="0"/>
                  <a:t>m</a:t>
                </a:r>
                <a:r>
                  <a:rPr lang="ru-RU" sz="1000" baseline="-25000" dirty="0" smtClean="0"/>
                  <a:t>обр</a:t>
                </a:r>
                <a:r>
                  <a:rPr lang="ru-RU" sz="1000" dirty="0" smtClean="0"/>
                  <a:t> – масса навески, г.</a:t>
                </a:r>
              </a:p>
            </p:txBody>
          </p:sp>
        </mc:Choice>
        <mc:Fallback xmlns="">
          <p:sp>
            <p:nvSpPr>
              <p:cNvPr id="2" name="Прямоугольник 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8775" y="2670934"/>
                <a:ext cx="3624161" cy="1075551"/>
              </a:xfrm>
              <a:prstGeom prst="rect">
                <a:avLst/>
              </a:prstGeom>
              <a:blipFill>
                <a:blip r:embed="rId9"/>
                <a:stretch>
                  <a:fillRect l="-505" t="-1130" r="-337" b="-1695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0" name="Прямоугольник 29"/>
          <p:cNvSpPr/>
          <p:nvPr/>
        </p:nvSpPr>
        <p:spPr>
          <a:xfrm>
            <a:off x="4804135" y="4252171"/>
            <a:ext cx="1291866" cy="254120"/>
          </a:xfrm>
          <a:prstGeom prst="rect">
            <a:avLst/>
          </a:prstGeom>
        </p:spPr>
        <p:txBody>
          <a:bodyPr wrap="square" lIns="77925" tIns="38963" rIns="77925" bIns="38963">
            <a:spAutoFit/>
          </a:bodyPr>
          <a:lstStyle/>
          <a:p>
            <a:pPr algn="ctr">
              <a:lnSpc>
                <a:spcPct val="114000"/>
              </a:lnSpc>
            </a:pPr>
            <a:r>
              <a:rPr lang="ru-RU" sz="1000" dirty="0" smtClean="0"/>
              <a:t>Весы</a:t>
            </a:r>
            <a:endParaRPr lang="en-US" sz="1000" dirty="0" smtClean="0"/>
          </a:p>
        </p:txBody>
      </p:sp>
    </p:spTree>
    <p:extLst>
      <p:ext uri="{BB962C8B-B14F-4D97-AF65-F5344CB8AC3E}">
        <p14:creationId xmlns:p14="http://schemas.microsoft.com/office/powerpoint/2010/main" val="3385774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Объект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055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7" name="Объект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Номер слайда 2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8</a:t>
            </a:fld>
            <a:endParaRPr lang="ru-RU" dirty="0"/>
          </a:p>
        </p:txBody>
      </p:sp>
      <p:sp>
        <p:nvSpPr>
          <p:cNvPr id="44" name="Прямоугольник 43"/>
          <p:cNvSpPr/>
          <p:nvPr/>
        </p:nvSpPr>
        <p:spPr>
          <a:xfrm>
            <a:off x="310255" y="3952523"/>
            <a:ext cx="8873074" cy="586518"/>
          </a:xfrm>
          <a:prstGeom prst="rect">
            <a:avLst/>
          </a:prstGeom>
        </p:spPr>
        <p:txBody>
          <a:bodyPr wrap="square" lIns="77925" tIns="38963" rIns="77925" bIns="38963">
            <a:spAutoFit/>
          </a:bodyPr>
          <a:lstStyle/>
          <a:p>
            <a:r>
              <a:rPr lang="ru-RU" sz="1100" b="1" dirty="0" smtClean="0"/>
              <a:t>Факторы</a:t>
            </a:r>
            <a:r>
              <a:rPr lang="ru-RU" sz="1100" b="1" dirty="0"/>
              <a:t>, влияющие на результаты </a:t>
            </a:r>
            <a:r>
              <a:rPr lang="ru-RU" sz="1100" b="1" dirty="0" smtClean="0"/>
              <a:t>измерений 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100" dirty="0" smtClean="0">
                <a:solidFill>
                  <a:schemeClr val="accent1">
                    <a:lumMod val="75000"/>
                  </a:schemeClr>
                </a:solidFill>
                <a:sym typeface="Wingdings"/>
              </a:rPr>
              <a:t>Взвешивание 		</a:t>
            </a:r>
            <a:r>
              <a:rPr lang="ru-RU" sz="1100" dirty="0">
                <a:solidFill>
                  <a:schemeClr val="accent1">
                    <a:lumMod val="75000"/>
                  </a:schemeClr>
                </a:solidFill>
                <a:sym typeface="Wingdings"/>
              </a:rPr>
              <a:t>	</a:t>
            </a:r>
            <a:r>
              <a:rPr lang="ru-RU" sz="1100" dirty="0">
                <a:solidFill>
                  <a:srgbClr val="008C95">
                    <a:lumMod val="75000"/>
                  </a:srgbClr>
                </a:solidFill>
                <a:sym typeface="Wingdings"/>
              </a:rPr>
              <a:t> </a:t>
            </a:r>
            <a:r>
              <a:rPr lang="ru-RU" sz="1100" dirty="0" smtClean="0">
                <a:solidFill>
                  <a:srgbClr val="008C95">
                    <a:lumMod val="75000"/>
                  </a:srgbClr>
                </a:solidFill>
                <a:sym typeface="Wingdings"/>
              </a:rPr>
              <a:t> Посуда</a:t>
            </a:r>
            <a:r>
              <a:rPr lang="ru-RU" sz="1100" dirty="0" smtClean="0">
                <a:solidFill>
                  <a:schemeClr val="accent1">
                    <a:lumMod val="75000"/>
                  </a:schemeClr>
                </a:solidFill>
                <a:sym typeface="Wingdings"/>
              </a:rPr>
              <a:t>	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100" dirty="0" smtClean="0">
                <a:solidFill>
                  <a:schemeClr val="accent1">
                    <a:lumMod val="75000"/>
                  </a:schemeClr>
                </a:solidFill>
                <a:sym typeface="Wingdings"/>
              </a:rPr>
              <a:t>Время сушки	</a:t>
            </a:r>
            <a:endParaRPr lang="ru-RU" sz="1100" dirty="0">
              <a:sym typeface="Wingdings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361067" y="941906"/>
            <a:ext cx="8771450" cy="263353"/>
          </a:xfrm>
          <a:prstGeom prst="rect">
            <a:avLst/>
          </a:prstGeom>
        </p:spPr>
        <p:txBody>
          <a:bodyPr wrap="square" lIns="77925" tIns="38963" rIns="77925" bIns="38963">
            <a:spAutoFit/>
          </a:bodyPr>
          <a:lstStyle/>
          <a:p>
            <a:pPr lvl="0"/>
            <a:r>
              <a:rPr lang="ru-RU" sz="1200" b="1" dirty="0" smtClean="0">
                <a:solidFill>
                  <a:srgbClr val="003D4C"/>
                </a:solidFill>
              </a:rPr>
              <a:t>Ключевые отличия стандартов</a:t>
            </a:r>
            <a:endParaRPr lang="ru-RU" sz="1200" b="1" dirty="0">
              <a:solidFill>
                <a:srgbClr val="003D4C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366032" y="343631"/>
            <a:ext cx="8288457" cy="5372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fontAlgn="base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37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875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14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752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sz="1800" dirty="0"/>
              <a:t>Определение массовой доли летучих веществ</a:t>
            </a:r>
          </a:p>
          <a:p>
            <a:r>
              <a:rPr lang="ru-RU" sz="1800" dirty="0"/>
              <a:t>ГОСТ 26359-1984,</a:t>
            </a:r>
            <a:r>
              <a:rPr lang="en-US" sz="1800" dirty="0"/>
              <a:t> ÖNORM EN 12099</a:t>
            </a:r>
            <a:r>
              <a:rPr lang="ru-RU" sz="1800" dirty="0"/>
              <a:t>-1997</a:t>
            </a:r>
            <a:r>
              <a:rPr lang="en-US" sz="1800" dirty="0"/>
              <a:t> </a:t>
            </a:r>
            <a:endParaRPr lang="ru-RU" sz="1800" dirty="0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1772974"/>
              </p:ext>
            </p:extLst>
          </p:nvPr>
        </p:nvGraphicFramePr>
        <p:xfrm>
          <a:off x="358775" y="1194397"/>
          <a:ext cx="8419192" cy="20709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02292">
                  <a:extLst>
                    <a:ext uri="{9D8B030D-6E8A-4147-A177-3AD203B41FA5}">
                      <a16:colId xmlns:a16="http://schemas.microsoft.com/office/drawing/2014/main" val="2060319700"/>
                    </a:ext>
                  </a:extLst>
                </a:gridCol>
                <a:gridCol w="2898534">
                  <a:extLst>
                    <a:ext uri="{9D8B030D-6E8A-4147-A177-3AD203B41FA5}">
                      <a16:colId xmlns:a16="http://schemas.microsoft.com/office/drawing/2014/main" val="3257079692"/>
                    </a:ext>
                  </a:extLst>
                </a:gridCol>
                <a:gridCol w="3818366">
                  <a:extLst>
                    <a:ext uri="{9D8B030D-6E8A-4147-A177-3AD203B41FA5}">
                      <a16:colId xmlns:a16="http://schemas.microsoft.com/office/drawing/2014/main" val="691658210"/>
                    </a:ext>
                  </a:extLst>
                </a:gridCol>
              </a:tblGrid>
              <a:tr h="242681"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latin typeface="+mn-lt"/>
                        </a:rPr>
                        <a:t>Параметр сравнения</a:t>
                      </a:r>
                      <a:endParaRPr lang="ru-RU" sz="1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latin typeface="+mn-lt"/>
                        </a:rPr>
                        <a:t>ГОСТ 26359 - 1984</a:t>
                      </a:r>
                      <a:endParaRPr lang="ru-RU" sz="1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>
                          <a:latin typeface="+mn-lt"/>
                        </a:rPr>
                        <a:t>ÖNORM EN 12099 </a:t>
                      </a:r>
                      <a:r>
                        <a:rPr lang="ru-RU" sz="1000" dirty="0" smtClean="0">
                          <a:latin typeface="+mn-lt"/>
                        </a:rPr>
                        <a:t>- 1997</a:t>
                      </a:r>
                      <a:endParaRPr lang="ru-RU" sz="10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2849223"/>
                  </a:ext>
                </a:extLst>
              </a:tr>
              <a:tr h="364021">
                <a:tc>
                  <a:txBody>
                    <a:bodyPr/>
                    <a:lstStyle/>
                    <a:p>
                      <a:r>
                        <a:rPr lang="ru-RU" sz="9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Посуда</a:t>
                      </a:r>
                      <a:endParaRPr lang="ru-RU" sz="9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таканчик для взвешивания типа СН по ГОСТ 25336-8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Стаканчик</a:t>
                      </a:r>
                      <a:r>
                        <a:rPr lang="ru-RU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д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иаметром</a:t>
                      </a:r>
                      <a:r>
                        <a:rPr lang="ru-RU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35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мм, м</a:t>
                      </a:r>
                      <a:r>
                        <a:rPr lang="ru-RU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инимальным объемом 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50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 мл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91683109"/>
                  </a:ext>
                </a:extLst>
              </a:tr>
              <a:tr h="227513">
                <a:tc>
                  <a:txBody>
                    <a:bodyPr/>
                    <a:lstStyle/>
                    <a:p>
                      <a:r>
                        <a:rPr lang="ru-RU" sz="9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Температура, ⁰С</a:t>
                      </a:r>
                      <a:endParaRPr lang="ru-RU" sz="9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05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±2</a:t>
                      </a:r>
                      <a:endParaRPr lang="ru-RU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05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±2</a:t>
                      </a:r>
                      <a:endParaRPr lang="ru-RU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23607712"/>
                  </a:ext>
                </a:extLst>
              </a:tr>
              <a:tr h="227513">
                <a:tc>
                  <a:txBody>
                    <a:bodyPr/>
                    <a:lstStyle/>
                    <a:p>
                      <a:r>
                        <a:rPr lang="ru-RU" sz="9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Масса образца</a:t>
                      </a:r>
                      <a:endParaRPr lang="ru-RU" sz="9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±1 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≈ 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25 г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776528674"/>
                  </a:ext>
                </a:extLst>
              </a:tr>
              <a:tr h="227513">
                <a:tc>
                  <a:txBody>
                    <a:bodyPr/>
                    <a:lstStyle/>
                    <a:p>
                      <a:r>
                        <a:rPr lang="ru-RU" sz="9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Время сушки образца</a:t>
                      </a:r>
                      <a:endParaRPr lang="ru-RU" sz="9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часа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ч 05</a:t>
                      </a:r>
                      <a:r>
                        <a:rPr lang="ru-RU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мин 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± 5 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мин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730171607"/>
                  </a:ext>
                </a:extLst>
              </a:tr>
              <a:tr h="227513">
                <a:tc>
                  <a:txBody>
                    <a:bodyPr/>
                    <a:lstStyle/>
                    <a:p>
                      <a:r>
                        <a:rPr lang="ru-RU" sz="9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Время охлаждения</a:t>
                      </a:r>
                      <a:endParaRPr lang="ru-RU" sz="9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час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Не менее 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 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часа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850663151"/>
                  </a:ext>
                </a:extLst>
              </a:tr>
              <a:tr h="409523">
                <a:tc>
                  <a:txBody>
                    <a:bodyPr/>
                    <a:lstStyle/>
                    <a:p>
                      <a:r>
                        <a:rPr lang="ru-RU" sz="9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Результат</a:t>
                      </a:r>
                      <a:endParaRPr lang="ru-RU" sz="9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Ед.измерения</a:t>
                      </a:r>
                      <a:r>
                        <a:rPr lang="ru-RU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: 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центы (%)</a:t>
                      </a:r>
                    </a:p>
                    <a:p>
                      <a:pPr algn="ctr" fontAlgn="t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реднее арифметическое 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вух параллельных измерений с допускаемым расхождением 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более 0,02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Ед.измерения</a:t>
                      </a:r>
                      <a:r>
                        <a:rPr lang="ru-RU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: 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мг/кг 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3270992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50618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Прямоугольник 44"/>
          <p:cNvSpPr/>
          <p:nvPr/>
        </p:nvSpPr>
        <p:spPr bwMode="auto">
          <a:xfrm>
            <a:off x="367443" y="1131888"/>
            <a:ext cx="8417782" cy="3414388"/>
          </a:xfrm>
          <a:prstGeom prst="rect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algn="just" defTabSz="778632"/>
            <a:endParaRPr lang="ru-RU" sz="1000" dirty="0">
              <a:solidFill>
                <a:prstClr val="black"/>
              </a:solidFill>
            </a:endParaRPr>
          </a:p>
        </p:txBody>
      </p:sp>
      <p:graphicFrame>
        <p:nvGraphicFramePr>
          <p:cNvPr id="17" name="Объект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157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7" name="Объект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Номер слайда 2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9</a:t>
            </a:fld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365840" y="346346"/>
            <a:ext cx="8288457" cy="558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fontAlgn="base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37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875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14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752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sz="1800" dirty="0" smtClean="0"/>
              <a:t>Определение </a:t>
            </a:r>
            <a:r>
              <a:rPr lang="ru-RU" sz="1800" dirty="0"/>
              <a:t>содержания </a:t>
            </a:r>
            <a:r>
              <a:rPr lang="ru-RU" sz="1800" dirty="0" smtClean="0"/>
              <a:t>влаги</a:t>
            </a:r>
          </a:p>
          <a:p>
            <a:r>
              <a:rPr lang="en-US" sz="1800" dirty="0"/>
              <a:t>ISO </a:t>
            </a:r>
            <a:r>
              <a:rPr lang="en-US" sz="1800" dirty="0" smtClean="0"/>
              <a:t>15512</a:t>
            </a:r>
            <a:r>
              <a:rPr lang="ru-RU" sz="1800" dirty="0" smtClean="0"/>
              <a:t>-</a:t>
            </a:r>
            <a:r>
              <a:rPr lang="en-US" sz="1800" dirty="0" smtClean="0"/>
              <a:t>2019</a:t>
            </a:r>
            <a:r>
              <a:rPr lang="ru-RU" sz="1800" dirty="0" smtClean="0"/>
              <a:t> (метод </a:t>
            </a:r>
            <a:r>
              <a:rPr lang="en-US" sz="1800" dirty="0" smtClean="0"/>
              <a:t>B2</a:t>
            </a:r>
            <a:r>
              <a:rPr lang="ru-RU" sz="1800" dirty="0" smtClean="0"/>
              <a:t>),</a:t>
            </a:r>
            <a:r>
              <a:rPr lang="en-US" sz="1800" dirty="0" smtClean="0"/>
              <a:t> </a:t>
            </a:r>
            <a:r>
              <a:rPr lang="en-US" sz="1800" dirty="0"/>
              <a:t>ASTM </a:t>
            </a:r>
            <a:r>
              <a:rPr lang="en-US" sz="1800" dirty="0" smtClean="0"/>
              <a:t>D</a:t>
            </a:r>
            <a:r>
              <a:rPr lang="ru-RU" sz="1800" dirty="0" smtClean="0"/>
              <a:t> </a:t>
            </a:r>
            <a:r>
              <a:rPr lang="en-US" sz="1800" dirty="0" smtClean="0"/>
              <a:t>6869</a:t>
            </a:r>
            <a:r>
              <a:rPr lang="ru-RU" sz="1800" dirty="0" smtClean="0"/>
              <a:t>-2017, </a:t>
            </a:r>
            <a:r>
              <a:rPr lang="ru-RU" sz="1800" dirty="0"/>
              <a:t>ГОСТ 14870-77 </a:t>
            </a:r>
            <a:r>
              <a:rPr lang="ru-RU" sz="1800" dirty="0" smtClean="0"/>
              <a:t>п.3</a:t>
            </a:r>
            <a:endParaRPr lang="ru-RU" sz="1800" dirty="0"/>
          </a:p>
          <a:p>
            <a:r>
              <a:rPr lang="ru-RU" sz="1800" dirty="0" smtClean="0">
                <a:solidFill>
                  <a:schemeClr val="bg1"/>
                </a:solidFill>
              </a:rPr>
              <a:t>ГОСТ </a:t>
            </a:r>
            <a:r>
              <a:rPr lang="ru-RU" sz="1800" dirty="0">
                <a:solidFill>
                  <a:schemeClr val="bg1"/>
                </a:solidFill>
              </a:rPr>
              <a:t>14870-77 п3</a:t>
            </a:r>
          </a:p>
          <a:p>
            <a:r>
              <a:rPr lang="ru-RU" sz="1800" dirty="0" smtClean="0"/>
              <a:t> </a:t>
            </a:r>
            <a:endParaRPr lang="en-US" sz="1800" dirty="0"/>
          </a:p>
          <a:p>
            <a:endParaRPr lang="ru-RU" sz="1800" dirty="0"/>
          </a:p>
          <a:p>
            <a:endParaRPr lang="ru-RU" sz="1800" dirty="0"/>
          </a:p>
          <a:p>
            <a:endParaRPr lang="ru-RU" sz="18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366376" y="1136974"/>
            <a:ext cx="4382704" cy="1384995"/>
          </a:xfrm>
          <a:prstGeom prst="rect">
            <a:avLst/>
          </a:prstGeom>
          <a:ln w="19050">
            <a:noFill/>
            <a:prstDash val="dash"/>
          </a:ln>
        </p:spPr>
        <p:txBody>
          <a:bodyPr wrap="square">
            <a:spAutoFit/>
          </a:bodyPr>
          <a:lstStyle/>
          <a:p>
            <a:pPr algn="just"/>
            <a:r>
              <a:rPr lang="ru-RU" sz="1400" b="1" dirty="0" smtClean="0"/>
              <a:t>Сущность метода</a:t>
            </a:r>
            <a:endParaRPr lang="ru-RU" sz="1400" b="1" dirty="0"/>
          </a:p>
          <a:p>
            <a:pPr defTabSz="779025">
              <a:defRPr/>
            </a:pPr>
            <a:r>
              <a:rPr lang="en-US" sz="1000" b="1" dirty="0" smtClean="0"/>
              <a:t>ISO 15512</a:t>
            </a:r>
            <a:r>
              <a:rPr lang="ru-RU" sz="1000" b="1" dirty="0" smtClean="0"/>
              <a:t>:2019, метод </a:t>
            </a:r>
            <a:r>
              <a:rPr lang="en-US" sz="1000" b="1" dirty="0" smtClean="0"/>
              <a:t>B2</a:t>
            </a:r>
            <a:r>
              <a:rPr lang="ru-RU" sz="1000" b="1" dirty="0" smtClean="0"/>
              <a:t>, </a:t>
            </a:r>
            <a:r>
              <a:rPr lang="en-US" sz="1000" b="1" dirty="0" smtClean="0"/>
              <a:t>ASTM D6869 </a:t>
            </a:r>
            <a:r>
              <a:rPr lang="en-US" sz="1000" dirty="0" smtClean="0"/>
              <a:t>- </a:t>
            </a:r>
            <a:r>
              <a:rPr lang="ru-RU" sz="1000" dirty="0" smtClean="0"/>
              <a:t>Пробы </a:t>
            </a:r>
            <a:r>
              <a:rPr lang="ru-RU" sz="1000" dirty="0"/>
              <a:t>нагреваются с целью испарения воды, </a:t>
            </a:r>
            <a:r>
              <a:rPr lang="ru-RU" sz="1000" dirty="0" smtClean="0"/>
              <a:t>которая</a:t>
            </a:r>
            <a:r>
              <a:rPr lang="en-US" sz="1000" dirty="0" smtClean="0"/>
              <a:t> </a:t>
            </a:r>
            <a:r>
              <a:rPr lang="ru-RU" sz="1000" dirty="0" smtClean="0"/>
              <a:t>переносится </a:t>
            </a:r>
            <a:r>
              <a:rPr lang="ru-RU" sz="1000" dirty="0"/>
              <a:t>азотом, как газом-носителем, в </a:t>
            </a:r>
            <a:r>
              <a:rPr lang="ru-RU" sz="1000" dirty="0" smtClean="0"/>
              <a:t>титровальную ячейку</a:t>
            </a:r>
            <a:r>
              <a:rPr lang="ru-RU" sz="1000" dirty="0"/>
              <a:t>. Количество влаги, собранной в растворе </a:t>
            </a:r>
            <a:r>
              <a:rPr lang="ru-RU" sz="1000" dirty="0" smtClean="0"/>
              <a:t>внутри титровальной </a:t>
            </a:r>
            <a:r>
              <a:rPr lang="ru-RU" sz="1000" dirty="0"/>
              <a:t>ячейки, определяется с помощью реакции </a:t>
            </a:r>
            <a:r>
              <a:rPr lang="ru-RU" sz="1000" dirty="0" smtClean="0"/>
              <a:t>с участием </a:t>
            </a:r>
            <a:r>
              <a:rPr lang="ru-RU" sz="1000" dirty="0"/>
              <a:t>воды с </a:t>
            </a:r>
            <a:r>
              <a:rPr lang="en-US" sz="1000" dirty="0"/>
              <a:t>I</a:t>
            </a:r>
            <a:r>
              <a:rPr lang="en-US" sz="1000" baseline="-25000" dirty="0"/>
              <a:t>2</a:t>
            </a:r>
            <a:r>
              <a:rPr lang="en-US" sz="1000" dirty="0" smtClean="0"/>
              <a:t>.</a:t>
            </a:r>
          </a:p>
          <a:p>
            <a:r>
              <a:rPr lang="ru-RU" sz="1000" b="1" dirty="0" smtClean="0"/>
              <a:t>ГОСТ 14870-77 п.3 </a:t>
            </a:r>
            <a:r>
              <a:rPr lang="en-US" sz="1000" dirty="0" smtClean="0"/>
              <a:t>- </a:t>
            </a:r>
            <a:r>
              <a:rPr lang="ru-RU" sz="1000" dirty="0" smtClean="0"/>
              <a:t> высушивание вещества до постоянной массы и определении уменьшения массы образца</a:t>
            </a:r>
            <a:endParaRPr lang="ru-RU" sz="1000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6981825" y="1089254"/>
            <a:ext cx="1276350" cy="263353"/>
          </a:xfrm>
          <a:prstGeom prst="rect">
            <a:avLst/>
          </a:prstGeom>
          <a:ln w="19050">
            <a:noFill/>
            <a:prstDash val="dash"/>
          </a:ln>
        </p:spPr>
        <p:txBody>
          <a:bodyPr wrap="square" lIns="77925" tIns="38963" rIns="77925" bIns="38963">
            <a:spAutoFit/>
          </a:bodyPr>
          <a:lstStyle/>
          <a:p>
            <a:r>
              <a:rPr lang="ru-RU" sz="1200" b="1" dirty="0" smtClean="0"/>
              <a:t>Оборудование</a:t>
            </a:r>
            <a:endParaRPr lang="ru-RU" sz="1200" b="1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6373518" y="3765404"/>
            <a:ext cx="2343406" cy="239437"/>
          </a:xfrm>
          <a:prstGeom prst="rect">
            <a:avLst/>
          </a:prstGeom>
        </p:spPr>
        <p:txBody>
          <a:bodyPr wrap="square" lIns="77925" tIns="38963" rIns="77925" bIns="38963">
            <a:spAutoFit/>
          </a:bodyPr>
          <a:lstStyle/>
          <a:p>
            <a:pPr algn="ctr">
              <a:lnSpc>
                <a:spcPct val="114000"/>
              </a:lnSpc>
            </a:pPr>
            <a:r>
              <a:rPr lang="ru-RU" sz="1000" dirty="0" smtClean="0"/>
              <a:t>Сушильный шкаф</a:t>
            </a:r>
            <a:endParaRPr lang="en-US" sz="1000" dirty="0" smtClean="0"/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22"/>
          <a:stretch/>
        </p:blipFill>
        <p:spPr>
          <a:xfrm>
            <a:off x="6220653" y="1138393"/>
            <a:ext cx="2562647" cy="2554241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" name="Прямоугольник 1"/>
              <p:cNvSpPr/>
              <p:nvPr/>
            </p:nvSpPr>
            <p:spPr>
              <a:xfrm>
                <a:off x="391056" y="2809571"/>
                <a:ext cx="3624161" cy="129099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just" defTabSz="778632"/>
                <a:r>
                  <a:rPr lang="ru-RU" sz="1400" b="1" dirty="0" smtClean="0"/>
                  <a:t>Массовая доля воды (</a:t>
                </a:r>
                <a:r>
                  <a:rPr lang="en-US" sz="1400" b="1" dirty="0"/>
                  <a:t>X), </a:t>
                </a:r>
                <a:r>
                  <a:rPr lang="en-US" sz="1400" b="1" dirty="0" smtClean="0"/>
                  <a:t>%</a:t>
                </a:r>
                <a:r>
                  <a:rPr lang="ru-RU" sz="1400" b="1" dirty="0" smtClean="0"/>
                  <a:t> по ГОСТ 14870-77 п.3:</a:t>
                </a:r>
                <a:endParaRPr lang="ru-RU" sz="1400" b="1" dirty="0"/>
              </a:p>
              <a:p>
                <a:pPr lvl="0" algn="just" defTabSz="778632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000" dirty="0"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en-US" sz="1000" dirty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l-GR" sz="1000" i="1" dirty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el-GR" sz="1000" i="1" dirty="0" smtClean="0">
                              <a:latin typeface="Cambria Math" panose="02040503050406030204" pitchFamily="18" charset="0"/>
                            </a:rPr>
                            <m:t>Δ</m:t>
                          </m:r>
                          <m:r>
                            <m:rPr>
                              <m:sty m:val="p"/>
                            </m:rPr>
                            <a:rPr lang="en-US" sz="1000" b="0" i="0" dirty="0" smtClean="0">
                              <a:latin typeface="Cambria Math" panose="02040503050406030204" pitchFamily="18" charset="0"/>
                            </a:rPr>
                            <m:t>m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en-US" sz="1000" dirty="0">
                              <a:latin typeface="Cambria Math" panose="02040503050406030204" pitchFamily="18" charset="0"/>
                            </a:rPr>
                            <m:t>m</m:t>
                          </m:r>
                          <m:r>
                            <a:rPr lang="ru-RU" sz="1000" b="0" i="0" baseline="-25000" dirty="0" smtClean="0">
                              <a:latin typeface="Cambria Math" panose="02040503050406030204" pitchFamily="18" charset="0"/>
                            </a:rPr>
                            <m:t>обр</m:t>
                          </m:r>
                        </m:den>
                      </m:f>
                      <m:r>
                        <a:rPr lang="ru-RU" sz="1000" dirty="0">
                          <a:latin typeface="Cambria Math" panose="02040503050406030204" pitchFamily="18" charset="0"/>
                        </a:rPr>
                        <m:t> ×</m:t>
                      </m:r>
                      <m:r>
                        <a:rPr lang="en-US" sz="1000" dirty="0">
                          <a:latin typeface="Cambria Math" panose="02040503050406030204" pitchFamily="18" charset="0"/>
                        </a:rPr>
                        <m:t>100</m:t>
                      </m:r>
                    </m:oMath>
                  </m:oMathPara>
                </a14:m>
                <a:endParaRPr lang="ru-RU" sz="1000" dirty="0"/>
              </a:p>
              <a:p>
                <a:pPr algn="just" defTabSz="778632"/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sz="1000" i="1" dirty="0">
                        <a:latin typeface="Cambria Math" panose="02040503050406030204" pitchFamily="18" charset="0"/>
                      </a:rPr>
                      <m:t>Δ</m:t>
                    </m:r>
                  </m:oMath>
                </a14:m>
                <a:r>
                  <a:rPr lang="en-US" sz="1000" dirty="0" smtClean="0"/>
                  <a:t>m</a:t>
                </a:r>
                <a:r>
                  <a:rPr lang="ru-RU" sz="1000" dirty="0" smtClean="0"/>
                  <a:t> – изменение массы бюкса с образцом до и после сушки, г;</a:t>
                </a:r>
              </a:p>
              <a:p>
                <a:pPr algn="just" defTabSz="778632"/>
                <a:r>
                  <a:rPr lang="en-US" sz="1000" dirty="0" smtClean="0"/>
                  <a:t>m</a:t>
                </a:r>
                <a:r>
                  <a:rPr lang="ru-RU" sz="1000" baseline="-25000" dirty="0" smtClean="0"/>
                  <a:t>обр</a:t>
                </a:r>
                <a:r>
                  <a:rPr lang="ru-RU" sz="1000" dirty="0" smtClean="0"/>
                  <a:t> – масса навески, г.</a:t>
                </a:r>
              </a:p>
            </p:txBody>
          </p:sp>
        </mc:Choice>
        <mc:Fallback xmlns="">
          <p:sp>
            <p:nvSpPr>
              <p:cNvPr id="2" name="Прямоугольник 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1056" y="2809571"/>
                <a:ext cx="3624161" cy="1290994"/>
              </a:xfrm>
              <a:prstGeom prst="rect">
                <a:avLst/>
              </a:prstGeom>
              <a:blipFill>
                <a:blip r:embed="rId7"/>
                <a:stretch>
                  <a:fillRect l="-504" t="-943" r="-336" b="-943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" name="Рисунок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0" y="1131888"/>
            <a:ext cx="1648652" cy="2560746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>
          <a:xfrm>
            <a:off x="4572000" y="3764177"/>
            <a:ext cx="1524000" cy="429552"/>
          </a:xfrm>
          <a:prstGeom prst="rect">
            <a:avLst/>
          </a:prstGeom>
        </p:spPr>
        <p:txBody>
          <a:bodyPr wrap="square" lIns="77925" tIns="38963" rIns="77925" bIns="38963">
            <a:spAutoFit/>
          </a:bodyPr>
          <a:lstStyle/>
          <a:p>
            <a:pPr algn="ctr">
              <a:lnSpc>
                <a:spcPct val="114000"/>
              </a:lnSpc>
            </a:pPr>
            <a:r>
              <a:rPr lang="ru-RU" sz="1000" dirty="0" err="1" smtClean="0"/>
              <a:t>Титратор</a:t>
            </a:r>
            <a:r>
              <a:rPr lang="ru-RU" sz="1000" dirty="0" smtClean="0"/>
              <a:t> Фишера</a:t>
            </a:r>
          </a:p>
          <a:p>
            <a:pPr algn="ctr">
              <a:lnSpc>
                <a:spcPct val="114000"/>
              </a:lnSpc>
            </a:pPr>
            <a:r>
              <a:rPr lang="ru-RU" sz="1000" dirty="0" smtClean="0"/>
              <a:t>(с печью)</a:t>
            </a:r>
            <a:endParaRPr lang="en-US" sz="1000" dirty="0" smtClean="0"/>
          </a:p>
        </p:txBody>
      </p:sp>
    </p:spTree>
    <p:extLst>
      <p:ext uri="{BB962C8B-B14F-4D97-AF65-F5344CB8AC3E}">
        <p14:creationId xmlns:p14="http://schemas.microsoft.com/office/powerpoint/2010/main" val="3286869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Объект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17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7" name="Объект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Номер слайда 2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</a:t>
            </a:fld>
            <a:endParaRPr lang="ru-RU" dirty="0"/>
          </a:p>
        </p:txBody>
      </p:sp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54235" y="339725"/>
            <a:ext cx="4978634" cy="4211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" name="Заголовок 1"/>
          <p:cNvSpPr txBox="1">
            <a:spLocks/>
          </p:cNvSpPr>
          <p:nvPr/>
        </p:nvSpPr>
        <p:spPr bwMode="auto">
          <a:xfrm>
            <a:off x="4018408" y="2279609"/>
            <a:ext cx="1384541" cy="4661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45711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91423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37135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828477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sz="2100" b="1" kern="0" dirty="0"/>
              <a:t>ПРАВИЛА</a:t>
            </a:r>
            <a:br>
              <a:rPr lang="ru-RU" sz="2100" b="1" kern="0" dirty="0"/>
            </a:br>
            <a:endParaRPr lang="ru-RU" sz="2100" b="1" kern="0" dirty="0"/>
          </a:p>
        </p:txBody>
      </p:sp>
      <p:sp>
        <p:nvSpPr>
          <p:cNvPr id="27" name="Прямоугольник 26"/>
          <p:cNvSpPr/>
          <p:nvPr/>
        </p:nvSpPr>
        <p:spPr>
          <a:xfrm>
            <a:off x="2023564" y="1846523"/>
            <a:ext cx="155690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>
                <a:solidFill>
                  <a:schemeClr val="accent1"/>
                </a:solidFill>
              </a:rPr>
              <a:t>Следуем времени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3742062" y="1844667"/>
            <a:ext cx="179876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>
                <a:solidFill>
                  <a:schemeClr val="accent1"/>
                </a:solidFill>
              </a:rPr>
              <a:t>Участвуем в опросах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5540824" y="1843057"/>
            <a:ext cx="175144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>
                <a:solidFill>
                  <a:schemeClr val="accent1"/>
                </a:solidFill>
              </a:rPr>
              <a:t>Когда всё «зависло»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2243864" y="2764393"/>
            <a:ext cx="123097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>
                <a:solidFill>
                  <a:schemeClr val="accent1"/>
                </a:solidFill>
              </a:rPr>
              <a:t>Пишем в чате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3764471" y="2764394"/>
            <a:ext cx="161505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>
                <a:solidFill>
                  <a:schemeClr val="accent1"/>
                </a:solidFill>
              </a:rPr>
              <a:t>Выражаем эмоции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5456154" y="2764393"/>
            <a:ext cx="178818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>
                <a:solidFill>
                  <a:schemeClr val="accent1"/>
                </a:solidFill>
              </a:rPr>
              <a:t>Ведущий вернется </a:t>
            </a:r>
            <a:r>
              <a:rPr lang="ru-RU" sz="1200" b="1" dirty="0">
                <a:solidFill>
                  <a:schemeClr val="accent1"/>
                </a:solidFill>
                <a:sym typeface="Wingdings" panose="05000000000000000000" pitchFamily="2" charset="2"/>
              </a:rPr>
              <a:t></a:t>
            </a:r>
            <a:endParaRPr lang="ru-RU" sz="12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4116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Объект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60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7" name="Объект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Номер слайда 2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0</a:t>
            </a:fld>
            <a:endParaRPr lang="ru-RU" dirty="0"/>
          </a:p>
        </p:txBody>
      </p:sp>
      <p:sp>
        <p:nvSpPr>
          <p:cNvPr id="44" name="Прямоугольник 43"/>
          <p:cNvSpPr/>
          <p:nvPr/>
        </p:nvSpPr>
        <p:spPr>
          <a:xfrm>
            <a:off x="259443" y="3721582"/>
            <a:ext cx="8873074" cy="755795"/>
          </a:xfrm>
          <a:prstGeom prst="rect">
            <a:avLst/>
          </a:prstGeom>
        </p:spPr>
        <p:txBody>
          <a:bodyPr wrap="square" lIns="77925" tIns="38963" rIns="77925" bIns="38963">
            <a:spAutoFit/>
          </a:bodyPr>
          <a:lstStyle/>
          <a:p>
            <a:r>
              <a:rPr lang="ru-RU" sz="1100" b="1" dirty="0" smtClean="0"/>
              <a:t>Факторы</a:t>
            </a:r>
            <a:r>
              <a:rPr lang="ru-RU" sz="1100" b="1" dirty="0"/>
              <a:t>, влияющие на результаты </a:t>
            </a:r>
            <a:r>
              <a:rPr lang="ru-RU" sz="1100" b="1" dirty="0" smtClean="0"/>
              <a:t>измерений 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100" dirty="0">
                <a:solidFill>
                  <a:schemeClr val="accent1">
                    <a:lumMod val="75000"/>
                  </a:schemeClr>
                </a:solidFill>
                <a:sym typeface="Wingdings"/>
              </a:rPr>
              <a:t>Температура испытания</a:t>
            </a:r>
            <a:r>
              <a:rPr lang="ru-RU" sz="1100" dirty="0" smtClean="0">
                <a:solidFill>
                  <a:schemeClr val="accent1">
                    <a:lumMod val="75000"/>
                  </a:schemeClr>
                </a:solidFill>
                <a:sym typeface="Wingdings"/>
              </a:rPr>
              <a:t>		</a:t>
            </a:r>
            <a:r>
              <a:rPr lang="ru-RU" sz="1100" dirty="0">
                <a:solidFill>
                  <a:schemeClr val="accent1">
                    <a:lumMod val="75000"/>
                  </a:schemeClr>
                </a:solidFill>
                <a:sym typeface="Wingdings"/>
              </a:rPr>
              <a:t>	</a:t>
            </a:r>
            <a:r>
              <a:rPr lang="ru-RU" sz="1100" dirty="0">
                <a:solidFill>
                  <a:srgbClr val="008C95">
                    <a:lumMod val="75000"/>
                  </a:srgbClr>
                </a:solidFill>
                <a:sym typeface="Wingdings"/>
              </a:rPr>
              <a:t> </a:t>
            </a:r>
            <a:r>
              <a:rPr lang="ru-RU" sz="1100" dirty="0" smtClean="0">
                <a:solidFill>
                  <a:schemeClr val="accent1">
                    <a:lumMod val="75000"/>
                  </a:schemeClr>
                </a:solidFill>
                <a:sym typeface="Wingdings"/>
              </a:rPr>
              <a:t>	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100" dirty="0" smtClean="0">
                <a:solidFill>
                  <a:schemeClr val="accent1">
                    <a:lumMod val="75000"/>
                  </a:schemeClr>
                </a:solidFill>
                <a:sym typeface="Wingdings"/>
              </a:rPr>
              <a:t>Осушители (молекулярные сита)	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100" dirty="0" smtClean="0">
                <a:solidFill>
                  <a:schemeClr val="accent1">
                    <a:lumMod val="75000"/>
                  </a:schemeClr>
                </a:solidFill>
                <a:sym typeface="Wingdings"/>
              </a:rPr>
              <a:t>Герметичность упаковки</a:t>
            </a:r>
            <a:endParaRPr lang="ru-RU" sz="1100" dirty="0">
              <a:sym typeface="Wingdings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361067" y="941906"/>
            <a:ext cx="8771450" cy="263353"/>
          </a:xfrm>
          <a:prstGeom prst="rect">
            <a:avLst/>
          </a:prstGeom>
        </p:spPr>
        <p:txBody>
          <a:bodyPr wrap="square" lIns="77925" tIns="38963" rIns="77925" bIns="38963">
            <a:spAutoFit/>
          </a:bodyPr>
          <a:lstStyle/>
          <a:p>
            <a:pPr lvl="0"/>
            <a:r>
              <a:rPr lang="ru-RU" sz="1200" b="1" dirty="0" smtClean="0">
                <a:solidFill>
                  <a:srgbClr val="003D4C"/>
                </a:solidFill>
              </a:rPr>
              <a:t>Ключевые отличия стандартов</a:t>
            </a:r>
            <a:endParaRPr lang="ru-RU" sz="1200" b="1" dirty="0">
              <a:solidFill>
                <a:srgbClr val="003D4C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366032" y="343631"/>
            <a:ext cx="8288457" cy="5372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fontAlgn="base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37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875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14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752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sz="1800" dirty="0"/>
              <a:t>Определение содержания влаги</a:t>
            </a:r>
          </a:p>
          <a:p>
            <a:r>
              <a:rPr lang="en-US" sz="1800" dirty="0"/>
              <a:t>ISO 15512</a:t>
            </a:r>
            <a:r>
              <a:rPr lang="ru-RU" sz="1800" dirty="0"/>
              <a:t>-</a:t>
            </a:r>
            <a:r>
              <a:rPr lang="en-US" sz="1800" dirty="0"/>
              <a:t>2019</a:t>
            </a:r>
            <a:r>
              <a:rPr lang="ru-RU" sz="1800" dirty="0"/>
              <a:t> (метод </a:t>
            </a:r>
            <a:r>
              <a:rPr lang="en-US" sz="1800" dirty="0"/>
              <a:t>B2</a:t>
            </a:r>
            <a:r>
              <a:rPr lang="ru-RU" sz="1800" dirty="0"/>
              <a:t>),</a:t>
            </a:r>
            <a:r>
              <a:rPr lang="en-US" sz="1800" dirty="0"/>
              <a:t> ASTM D</a:t>
            </a:r>
            <a:r>
              <a:rPr lang="ru-RU" sz="1800" dirty="0"/>
              <a:t> </a:t>
            </a:r>
            <a:r>
              <a:rPr lang="en-US" sz="1800" dirty="0"/>
              <a:t>6869</a:t>
            </a:r>
            <a:r>
              <a:rPr lang="ru-RU" sz="1800" dirty="0"/>
              <a:t>-2017, ГОСТ 14870-77 п.3</a:t>
            </a:r>
            <a:endParaRPr lang="ru-RU" sz="1800" dirty="0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1248382"/>
              </p:ext>
            </p:extLst>
          </p:nvPr>
        </p:nvGraphicFramePr>
        <p:xfrm>
          <a:off x="358775" y="1228658"/>
          <a:ext cx="8636400" cy="237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17203">
                  <a:extLst>
                    <a:ext uri="{9D8B030D-6E8A-4147-A177-3AD203B41FA5}">
                      <a16:colId xmlns:a16="http://schemas.microsoft.com/office/drawing/2014/main" val="2060319700"/>
                    </a:ext>
                  </a:extLst>
                </a:gridCol>
                <a:gridCol w="2458381">
                  <a:extLst>
                    <a:ext uri="{9D8B030D-6E8A-4147-A177-3AD203B41FA5}">
                      <a16:colId xmlns:a16="http://schemas.microsoft.com/office/drawing/2014/main" val="3257079692"/>
                    </a:ext>
                  </a:extLst>
                </a:gridCol>
                <a:gridCol w="2680408">
                  <a:extLst>
                    <a:ext uri="{9D8B030D-6E8A-4147-A177-3AD203B41FA5}">
                      <a16:colId xmlns:a16="http://schemas.microsoft.com/office/drawing/2014/main" val="691658210"/>
                    </a:ext>
                  </a:extLst>
                </a:gridCol>
                <a:gridCol w="2680408">
                  <a:extLst>
                    <a:ext uri="{9D8B030D-6E8A-4147-A177-3AD203B41FA5}">
                      <a16:colId xmlns:a16="http://schemas.microsoft.com/office/drawing/2014/main" val="3486124765"/>
                    </a:ext>
                  </a:extLst>
                </a:gridCol>
              </a:tblGrid>
              <a:tr h="255104">
                <a:tc>
                  <a:txBody>
                    <a:bodyPr/>
                    <a:lstStyle/>
                    <a:p>
                      <a:pPr marL="0" marR="0" lvl="0" indent="0" algn="ctr" defTabSz="7787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араметр сравнения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ISO 15512</a:t>
                      </a:r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-</a:t>
                      </a:r>
                      <a:r>
                        <a:rPr lang="en-US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19 (</a:t>
                      </a:r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Метод </a:t>
                      </a:r>
                      <a:r>
                        <a:rPr lang="en-US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B2)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STM D 6869</a:t>
                      </a:r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-2017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ГОСТ 14870-77 п.3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32849223"/>
                  </a:ext>
                </a:extLst>
              </a:tr>
              <a:tr h="2183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Условия испытания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u="none" strike="noStrike" dirty="0" smtClean="0">
                          <a:effectLst/>
                          <a:latin typeface="+mn-lt"/>
                        </a:rPr>
                        <a:t>Титрование методом Фишера</a:t>
                      </a:r>
                    </a:p>
                    <a:p>
                      <a:pPr algn="ctr" fontAlgn="ctr"/>
                      <a:r>
                        <a:rPr lang="ru-RU" sz="800" b="0" u="none" strike="noStrike" dirty="0" smtClean="0">
                          <a:effectLst/>
                          <a:latin typeface="+mn-lt"/>
                        </a:rPr>
                        <a:t>Расход </a:t>
                      </a:r>
                      <a:r>
                        <a:rPr lang="en-US" sz="800" b="0" u="none" strike="noStrike" dirty="0">
                          <a:effectLst/>
                          <a:latin typeface="+mn-lt"/>
                        </a:rPr>
                        <a:t>N</a:t>
                      </a:r>
                      <a:r>
                        <a:rPr lang="en-US" sz="800" b="0" u="none" strike="noStrike" baseline="-25000" dirty="0">
                          <a:effectLst/>
                          <a:latin typeface="+mn-lt"/>
                        </a:rPr>
                        <a:t>2</a:t>
                      </a:r>
                      <a:r>
                        <a:rPr lang="en-US" sz="800" b="0" u="none" strike="noStrike" dirty="0">
                          <a:effectLst/>
                          <a:latin typeface="+mn-lt"/>
                        </a:rPr>
                        <a:t> = </a:t>
                      </a:r>
                      <a:r>
                        <a:rPr lang="ru-RU" sz="800" b="0" u="none" strike="noStrike" dirty="0" smtClean="0">
                          <a:effectLst/>
                          <a:latin typeface="+mn-lt"/>
                        </a:rPr>
                        <a:t>расход ≥60 см</a:t>
                      </a:r>
                      <a:r>
                        <a:rPr lang="ru-RU" sz="800" b="0" u="none" strike="noStrike" baseline="30000" dirty="0" smtClean="0">
                          <a:effectLst/>
                          <a:latin typeface="+mn-lt"/>
                        </a:rPr>
                        <a:t>3</a:t>
                      </a:r>
                      <a:r>
                        <a:rPr lang="ru-RU" sz="800" b="0" u="none" strike="noStrike" dirty="0" smtClean="0">
                          <a:effectLst/>
                          <a:latin typeface="+mn-lt"/>
                        </a:rPr>
                        <a:t>/ми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u="none" strike="noStrike" dirty="0" smtClean="0">
                          <a:effectLst/>
                          <a:latin typeface="+mn-lt"/>
                        </a:rPr>
                        <a:t>Титрование методом Фишера</a:t>
                      </a:r>
                    </a:p>
                    <a:p>
                      <a:pPr algn="ctr" fontAlgn="ctr"/>
                      <a:r>
                        <a:rPr lang="ru-RU" sz="800" b="0" u="none" strike="noStrike" dirty="0" smtClean="0">
                          <a:effectLst/>
                          <a:latin typeface="+mn-lt"/>
                        </a:rPr>
                        <a:t>Расход </a:t>
                      </a:r>
                      <a:r>
                        <a:rPr lang="en-US" sz="800" b="0" u="none" strike="noStrike" dirty="0">
                          <a:effectLst/>
                          <a:latin typeface="+mn-lt"/>
                        </a:rPr>
                        <a:t>N</a:t>
                      </a:r>
                      <a:r>
                        <a:rPr lang="en-US" sz="800" b="0" u="none" strike="noStrike" baseline="-25000" dirty="0">
                          <a:effectLst/>
                          <a:latin typeface="+mn-lt"/>
                        </a:rPr>
                        <a:t>2</a:t>
                      </a:r>
                      <a:r>
                        <a:rPr lang="en-US" sz="800" b="0" u="none" strike="noStrike" dirty="0">
                          <a:effectLst/>
                          <a:latin typeface="+mn-lt"/>
                        </a:rPr>
                        <a:t> = 200-300 </a:t>
                      </a:r>
                      <a:r>
                        <a:rPr lang="ru-RU" sz="800" b="0" u="none" strike="noStrike" dirty="0" smtClean="0">
                          <a:effectLst/>
                          <a:latin typeface="+mn-lt"/>
                        </a:rPr>
                        <a:t>мл/мин</a:t>
                      </a:r>
                      <a:r>
                        <a:rPr lang="ru-RU" sz="800" b="0" u="none" strike="noStrike" dirty="0">
                          <a:effectLst/>
                          <a:latin typeface="+mn-lt"/>
                        </a:rPr>
                        <a:t> 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ысушивание (гравиметрия)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39111363"/>
                  </a:ext>
                </a:extLst>
              </a:tr>
              <a:tr h="3295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Масса образца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u="none" strike="noStrike" dirty="0" smtClean="0">
                          <a:effectLst/>
                          <a:latin typeface="+mn-lt"/>
                        </a:rPr>
                        <a:t>0,1 – 5 г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u="none" strike="noStrike" dirty="0" smtClean="0">
                          <a:effectLst/>
                          <a:latin typeface="+mn-lt"/>
                        </a:rPr>
                        <a:t>Более 0,1 г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-5 г</a:t>
                      </a:r>
                      <a:endParaRPr lang="ru-RU" sz="800" b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19229822"/>
                  </a:ext>
                </a:extLst>
              </a:tr>
              <a:tr h="3295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Число параллелей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u="none" strike="noStrike" dirty="0" smtClean="0">
                          <a:effectLst/>
                          <a:latin typeface="+mn-lt"/>
                        </a:rPr>
                        <a:t>Не менее 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Не</a:t>
                      </a:r>
                      <a:r>
                        <a:rPr lang="ru-RU" sz="8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 уточняетс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Не</a:t>
                      </a:r>
                      <a:r>
                        <a:rPr lang="ru-RU" sz="8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 уточняетс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21213850"/>
                  </a:ext>
                </a:extLst>
              </a:tr>
              <a:tr h="23065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Методика испытания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u="none" strike="noStrike" dirty="0" smtClean="0">
                          <a:effectLst/>
                          <a:latin typeface="+mn-lt"/>
                        </a:rPr>
                        <a:t>1. Холостая</a:t>
                      </a:r>
                      <a:r>
                        <a:rPr lang="ru-RU" sz="800" b="0" u="none" strike="noStrike" baseline="0" dirty="0" smtClean="0">
                          <a:effectLst/>
                          <a:latin typeface="+mn-lt"/>
                        </a:rPr>
                        <a:t> проба.</a:t>
                      </a:r>
                      <a:endParaRPr lang="ru-RU" sz="800" b="0" u="none" strike="noStrike" dirty="0" smtClean="0"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ru-RU" sz="800" b="0" u="none" strike="noStrike" dirty="0" smtClean="0">
                          <a:effectLst/>
                          <a:latin typeface="+mn-lt"/>
                        </a:rPr>
                        <a:t>2. Нагревание образца полимера при выбранной температуре.</a:t>
                      </a:r>
                    </a:p>
                    <a:p>
                      <a:pPr algn="ctr" fontAlgn="t"/>
                      <a:r>
                        <a:rPr lang="ru-RU" sz="800" b="0" u="none" strike="noStrike" dirty="0" smtClean="0">
                          <a:effectLst/>
                          <a:latin typeface="+mn-lt"/>
                        </a:rPr>
                        <a:t>3. Критерий</a:t>
                      </a:r>
                      <a:r>
                        <a:rPr lang="ru-RU" sz="800" b="0" u="none" strike="noStrike" baseline="0" dirty="0" smtClean="0">
                          <a:effectLst/>
                          <a:latin typeface="+mn-lt"/>
                        </a:rPr>
                        <a:t> запуска – 20 мкг </a:t>
                      </a:r>
                      <a:r>
                        <a:rPr lang="en-US" sz="800" b="0" u="none" strike="noStrike" baseline="0" dirty="0" smtClean="0">
                          <a:effectLst/>
                          <a:latin typeface="+mn-lt"/>
                        </a:rPr>
                        <a:t>H</a:t>
                      </a:r>
                      <a:r>
                        <a:rPr lang="en-US" sz="800" b="0" u="none" strike="noStrike" baseline="-50000" dirty="0" smtClean="0">
                          <a:effectLst/>
                          <a:latin typeface="+mn-lt"/>
                        </a:rPr>
                        <a:t>2</a:t>
                      </a:r>
                      <a:r>
                        <a:rPr lang="en-US" sz="800" b="0" u="none" strike="noStrike" baseline="0" dirty="0" smtClean="0">
                          <a:effectLst/>
                          <a:latin typeface="+mn-lt"/>
                        </a:rPr>
                        <a:t>O/</a:t>
                      </a:r>
                      <a:r>
                        <a:rPr lang="ru-RU" sz="800" b="0" u="none" strike="noStrike" baseline="0" dirty="0" smtClean="0">
                          <a:effectLst/>
                          <a:latin typeface="+mn-lt"/>
                        </a:rPr>
                        <a:t>мин</a:t>
                      </a:r>
                    </a:p>
                    <a:p>
                      <a:pPr algn="ctr" fontAlgn="t"/>
                      <a:r>
                        <a:rPr lang="ru-RU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.</a:t>
                      </a:r>
                      <a:r>
                        <a:rPr lang="ru-RU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0" u="none" strike="noStrike" dirty="0" smtClean="0">
                          <a:effectLst/>
                          <a:latin typeface="+mn-lt"/>
                        </a:rPr>
                        <a:t>Критерий </a:t>
                      </a:r>
                      <a:r>
                        <a:rPr lang="ru-RU" sz="800" b="0" u="none" strike="noStrike" baseline="0" dirty="0" smtClean="0">
                          <a:effectLst/>
                          <a:latin typeface="+mn-lt"/>
                        </a:rPr>
                        <a:t>остановки &lt; 5 мкг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u="none" strike="noStrike" dirty="0" smtClean="0">
                          <a:effectLst/>
                          <a:latin typeface="+mn-lt"/>
                        </a:rPr>
                        <a:t>Метод аналогичен </a:t>
                      </a:r>
                      <a:r>
                        <a:rPr lang="en-US" sz="800" b="0" u="none" strike="noStrike" dirty="0" smtClean="0">
                          <a:effectLst/>
                          <a:latin typeface="+mn-lt"/>
                        </a:rPr>
                        <a:t>ISO 15512-2019 (</a:t>
                      </a:r>
                      <a:r>
                        <a:rPr lang="ru-RU" sz="800" b="0" u="none" strike="noStrike" dirty="0" smtClean="0">
                          <a:effectLst/>
                          <a:latin typeface="+mn-lt"/>
                        </a:rPr>
                        <a:t>Метод </a:t>
                      </a:r>
                      <a:r>
                        <a:rPr lang="en-US" sz="800" b="0" u="none" strike="noStrike" dirty="0" smtClean="0">
                          <a:effectLst/>
                          <a:latin typeface="+mn-lt"/>
                        </a:rPr>
                        <a:t>B2)</a:t>
                      </a:r>
                    </a:p>
                    <a:p>
                      <a:pPr algn="ctr" fontAlgn="t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indent="-228600" algn="ctr" defTabSz="779021" rtl="0" eaLnBrk="1" fontAlgn="b" latinLnBrk="0" hangingPunct="1">
                        <a:buAutoNum type="arabicPeriod"/>
                      </a:pPr>
                      <a:r>
                        <a:rPr lang="ru-RU" sz="8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местить в стаканчик анализируемый препарат</a:t>
                      </a:r>
                    </a:p>
                    <a:p>
                      <a:pPr marL="0" marR="0" lvl="0" indent="-228600" algn="ctr" defTabSz="77902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ru-RU" sz="8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местить стаканчик в термостат (допускается сушка ИК-лампой) с приоткрытой крышкой, сушить при 105-110 °С до постоянной массы. Первое взвешивание – через 2 часа, далее – каждый час.</a:t>
                      </a:r>
                    </a:p>
                    <a:p>
                      <a:pPr marL="0" indent="-228600" algn="ctr" defTabSz="779021" rtl="0" eaLnBrk="1" fontAlgn="b" latinLnBrk="0" hangingPunct="1">
                        <a:buAutoNum type="arabicPeriod"/>
                      </a:pPr>
                      <a:r>
                        <a:rPr lang="ru-RU" sz="8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д взвешиванием стаканчик поместить с закрытой крышкой в эксикатор с хлоридом кальция, выдерживать не менее 30 мин.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07978834"/>
                  </a:ext>
                </a:extLst>
              </a:tr>
              <a:tr h="3295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Результаты </a:t>
                      </a:r>
                      <a:r>
                        <a:rPr lang="ru-RU" sz="9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спытания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u="none" strike="noStrike" dirty="0" smtClean="0">
                          <a:effectLst/>
                          <a:latin typeface="+mn-lt"/>
                        </a:rPr>
                        <a:t>Содержание влаги, %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u="none" strike="noStrike" dirty="0" smtClean="0">
                          <a:effectLst/>
                          <a:latin typeface="+mn-lt"/>
                        </a:rPr>
                        <a:t>Содержание влаги, %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u="none" strike="noStrike" dirty="0" smtClean="0">
                          <a:effectLst/>
                          <a:latin typeface="+mn-lt"/>
                        </a:rPr>
                        <a:t>Содержание влаги, %</a:t>
                      </a:r>
                      <a:endParaRPr lang="ru-RU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2706876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9917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Прямоугольник 44"/>
          <p:cNvSpPr/>
          <p:nvPr/>
        </p:nvSpPr>
        <p:spPr bwMode="auto">
          <a:xfrm>
            <a:off x="367443" y="1131888"/>
            <a:ext cx="8417782" cy="3414388"/>
          </a:xfrm>
          <a:prstGeom prst="rect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algn="just" defTabSz="778632"/>
            <a:endParaRPr lang="ru-RU" sz="1000" dirty="0">
              <a:solidFill>
                <a:prstClr val="black"/>
              </a:solidFill>
            </a:endParaRPr>
          </a:p>
        </p:txBody>
      </p:sp>
      <p:graphicFrame>
        <p:nvGraphicFramePr>
          <p:cNvPr id="17" name="Объект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463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7" name="Объект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Номер слайда 2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1</a:t>
            </a:fld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365840" y="346346"/>
            <a:ext cx="8288457" cy="558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fontAlgn="base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37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875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14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752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sz="1800" dirty="0" smtClean="0"/>
              <a:t>Определение </a:t>
            </a:r>
            <a:r>
              <a:rPr lang="ru-RU" sz="1800" dirty="0"/>
              <a:t>содержания </a:t>
            </a:r>
            <a:r>
              <a:rPr lang="ru-RU" sz="1800" dirty="0" smtClean="0"/>
              <a:t>золы</a:t>
            </a:r>
          </a:p>
          <a:p>
            <a:r>
              <a:rPr lang="en-US" sz="1800" dirty="0" smtClean="0"/>
              <a:t>ASTM D5630</a:t>
            </a:r>
            <a:r>
              <a:rPr lang="ru-RU" sz="1800" dirty="0" smtClean="0"/>
              <a:t>-2013, </a:t>
            </a:r>
            <a:r>
              <a:rPr lang="ru-RU" sz="1800" dirty="0"/>
              <a:t>ГОСТ </a:t>
            </a:r>
            <a:r>
              <a:rPr lang="ru-RU" sz="1800" dirty="0" smtClean="0"/>
              <a:t>15973-82, </a:t>
            </a:r>
            <a:r>
              <a:rPr lang="en-US" sz="1800" dirty="0"/>
              <a:t>ISO </a:t>
            </a:r>
            <a:r>
              <a:rPr lang="en-US" sz="1800" dirty="0" smtClean="0"/>
              <a:t>3451</a:t>
            </a:r>
            <a:r>
              <a:rPr lang="ru-RU" sz="1800" dirty="0" smtClean="0"/>
              <a:t>-1-2019 </a:t>
            </a:r>
            <a:r>
              <a:rPr lang="ru-RU" sz="1800" dirty="0"/>
              <a:t>(Метод А)</a:t>
            </a:r>
          </a:p>
          <a:p>
            <a:r>
              <a:rPr lang="ru-RU" sz="1800" dirty="0" smtClean="0">
                <a:solidFill>
                  <a:schemeClr val="bg1"/>
                </a:solidFill>
              </a:rPr>
              <a:t>ГОСТ </a:t>
            </a:r>
            <a:r>
              <a:rPr lang="ru-RU" sz="1800" dirty="0">
                <a:solidFill>
                  <a:schemeClr val="bg1"/>
                </a:solidFill>
              </a:rPr>
              <a:t>14870-77 п3</a:t>
            </a:r>
          </a:p>
          <a:p>
            <a:r>
              <a:rPr lang="ru-RU" sz="1800" dirty="0" smtClean="0"/>
              <a:t> </a:t>
            </a:r>
            <a:endParaRPr lang="en-US" sz="1800" dirty="0"/>
          </a:p>
          <a:p>
            <a:endParaRPr lang="ru-RU" sz="1800" dirty="0"/>
          </a:p>
          <a:p>
            <a:endParaRPr lang="ru-RU" sz="1800" dirty="0"/>
          </a:p>
          <a:p>
            <a:endParaRPr lang="ru-RU" sz="18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366376" y="1136974"/>
            <a:ext cx="4205624" cy="615553"/>
          </a:xfrm>
          <a:prstGeom prst="rect">
            <a:avLst/>
          </a:prstGeom>
          <a:ln w="19050">
            <a:noFill/>
            <a:prstDash val="dash"/>
          </a:ln>
        </p:spPr>
        <p:txBody>
          <a:bodyPr wrap="square">
            <a:spAutoFit/>
          </a:bodyPr>
          <a:lstStyle/>
          <a:p>
            <a:pPr algn="just"/>
            <a:r>
              <a:rPr lang="ru-RU" sz="1400" b="1" dirty="0" smtClean="0"/>
              <a:t>Сущность метода</a:t>
            </a:r>
            <a:endParaRPr lang="ru-RU" sz="1400" b="1" dirty="0"/>
          </a:p>
          <a:p>
            <a:pPr defTabSz="779025">
              <a:defRPr/>
            </a:pPr>
            <a:r>
              <a:rPr lang="ru-RU" sz="1000" dirty="0" smtClean="0"/>
              <a:t>Метод заключается в </a:t>
            </a:r>
            <a:r>
              <a:rPr lang="ru-RU" sz="1000" dirty="0" err="1" smtClean="0"/>
              <a:t>озолении</a:t>
            </a:r>
            <a:r>
              <a:rPr lang="ru-RU" sz="1000" dirty="0" smtClean="0"/>
              <a:t> пробы и последующем прокаливании остатка в муфельной </a:t>
            </a:r>
            <a:r>
              <a:rPr lang="ru-RU" sz="1000" dirty="0"/>
              <a:t>печи до постоянной массы.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6981825" y="1089254"/>
            <a:ext cx="1276350" cy="263353"/>
          </a:xfrm>
          <a:prstGeom prst="rect">
            <a:avLst/>
          </a:prstGeom>
          <a:ln w="19050">
            <a:noFill/>
            <a:prstDash val="dash"/>
          </a:ln>
        </p:spPr>
        <p:txBody>
          <a:bodyPr wrap="square" lIns="77925" tIns="38963" rIns="77925" bIns="38963">
            <a:spAutoFit/>
          </a:bodyPr>
          <a:lstStyle/>
          <a:p>
            <a:r>
              <a:rPr lang="ru-RU" sz="1200" b="1" dirty="0" smtClean="0"/>
              <a:t>Оборудование</a:t>
            </a:r>
            <a:endParaRPr lang="ru-RU" sz="1200" b="1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6157813" y="3765404"/>
            <a:ext cx="2627412" cy="254120"/>
          </a:xfrm>
          <a:prstGeom prst="rect">
            <a:avLst/>
          </a:prstGeom>
        </p:spPr>
        <p:txBody>
          <a:bodyPr wrap="square" lIns="77925" tIns="38963" rIns="77925" bIns="38963">
            <a:spAutoFit/>
          </a:bodyPr>
          <a:lstStyle/>
          <a:p>
            <a:pPr algn="ctr">
              <a:lnSpc>
                <a:spcPct val="114000"/>
              </a:lnSpc>
            </a:pPr>
            <a:r>
              <a:rPr lang="ru-RU" sz="1000" dirty="0" smtClean="0"/>
              <a:t>Муфельная печь</a:t>
            </a:r>
            <a:endParaRPr lang="en-US" sz="1000" dirty="0" smtClean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Прямоугольник 1"/>
              <p:cNvSpPr/>
              <p:nvPr/>
            </p:nvSpPr>
            <p:spPr>
              <a:xfrm>
                <a:off x="391056" y="2809571"/>
                <a:ext cx="3624161" cy="87806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just" defTabSz="778632"/>
                <a:r>
                  <a:rPr lang="ru-RU" sz="1400" b="1" dirty="0" smtClean="0"/>
                  <a:t>Массовая доля золы (</a:t>
                </a:r>
                <a:r>
                  <a:rPr lang="en-US" sz="1400" b="1" dirty="0"/>
                  <a:t>X</a:t>
                </a:r>
                <a:r>
                  <a:rPr lang="en-US" sz="1400" b="1" dirty="0" smtClean="0"/>
                  <a:t>)</a:t>
                </a:r>
                <a:r>
                  <a:rPr lang="ru-RU" sz="1400" b="1" dirty="0" smtClean="0"/>
                  <a:t>, %:</a:t>
                </a:r>
                <a:endParaRPr lang="ru-RU" sz="1400" b="1" dirty="0"/>
              </a:p>
              <a:p>
                <a:pPr lvl="0" algn="just" defTabSz="778632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000" dirty="0">
                          <a:latin typeface="Cambria Math" panose="02040503050406030204" pitchFamily="18" charset="0"/>
                        </a:rPr>
                        <m:t>𝑋</m:t>
                      </m:r>
                      <m:r>
                        <a:rPr lang="en-US" sz="1000" dirty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l-GR" sz="1000" i="1" dirty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en-US" sz="1000" b="0" i="0" dirty="0" smtClean="0">
                              <a:latin typeface="Cambria Math" panose="02040503050406030204" pitchFamily="18" charset="0"/>
                            </a:rPr>
                            <m:t>m</m:t>
                          </m:r>
                          <m:r>
                            <a:rPr lang="ru-RU" sz="1000" b="0" i="0" baseline="-25000" dirty="0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en-US" sz="1000" dirty="0">
                              <a:latin typeface="Cambria Math" panose="02040503050406030204" pitchFamily="18" charset="0"/>
                            </a:rPr>
                            <m:t>m</m:t>
                          </m:r>
                          <m:r>
                            <a:rPr lang="ru-RU" sz="1000" b="0" i="0" baseline="-25000" dirty="0" smtClean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r>
                        <a:rPr lang="ru-RU" sz="1000" dirty="0">
                          <a:latin typeface="Cambria Math" panose="02040503050406030204" pitchFamily="18" charset="0"/>
                        </a:rPr>
                        <m:t> ×</m:t>
                      </m:r>
                      <m:r>
                        <a:rPr lang="en-US" sz="1000" dirty="0">
                          <a:latin typeface="Cambria Math" panose="02040503050406030204" pitchFamily="18" charset="0"/>
                        </a:rPr>
                        <m:t>100</m:t>
                      </m:r>
                    </m:oMath>
                  </m:oMathPara>
                </a14:m>
                <a:endParaRPr lang="ru-RU" sz="1000" dirty="0"/>
              </a:p>
              <a:p>
                <a:pPr algn="just" defTabSz="778632"/>
                <a:r>
                  <a:rPr lang="en-US" sz="1000" dirty="0" smtClean="0"/>
                  <a:t>m</a:t>
                </a:r>
                <a:r>
                  <a:rPr lang="ru-RU" sz="1000" baseline="-25000" dirty="0" smtClean="0"/>
                  <a:t>1 </a:t>
                </a:r>
                <a:r>
                  <a:rPr lang="ru-RU" sz="1000" dirty="0" smtClean="0"/>
                  <a:t>– масса золы после прокаливания, г;</a:t>
                </a:r>
              </a:p>
              <a:p>
                <a:pPr algn="just" defTabSz="778632"/>
                <a:r>
                  <a:rPr lang="en-US" sz="1000" dirty="0" smtClean="0"/>
                  <a:t>m</a:t>
                </a:r>
                <a:r>
                  <a:rPr lang="en-US" sz="1000" baseline="-25000" dirty="0" smtClean="0"/>
                  <a:t>2</a:t>
                </a:r>
                <a:r>
                  <a:rPr lang="ru-RU" sz="1000" dirty="0" smtClean="0"/>
                  <a:t> – масса пробы, г.</a:t>
                </a:r>
              </a:p>
            </p:txBody>
          </p:sp>
        </mc:Choice>
        <mc:Fallback xmlns="">
          <p:sp>
            <p:nvSpPr>
              <p:cNvPr id="2" name="Прямоугольник 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1056" y="2809571"/>
                <a:ext cx="3624161" cy="878061"/>
              </a:xfrm>
              <a:prstGeom prst="rect">
                <a:avLst/>
              </a:prstGeom>
              <a:blipFill>
                <a:blip r:embed="rId6"/>
                <a:stretch>
                  <a:fillRect l="-504" t="-1389" b="-2083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3" name="Picture 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1" b="2431"/>
          <a:stretch/>
        </p:blipFill>
        <p:spPr bwMode="auto">
          <a:xfrm>
            <a:off x="6157813" y="1332001"/>
            <a:ext cx="2627412" cy="23556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58424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Объект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63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7" name="Объект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Номер слайда 2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2</a:t>
            </a:fld>
            <a:endParaRPr lang="ru-RU" dirty="0"/>
          </a:p>
        </p:txBody>
      </p:sp>
      <p:sp>
        <p:nvSpPr>
          <p:cNvPr id="44" name="Прямоугольник 43"/>
          <p:cNvSpPr/>
          <p:nvPr/>
        </p:nvSpPr>
        <p:spPr>
          <a:xfrm>
            <a:off x="310255" y="4344699"/>
            <a:ext cx="8873074" cy="401852"/>
          </a:xfrm>
          <a:prstGeom prst="rect">
            <a:avLst/>
          </a:prstGeom>
        </p:spPr>
        <p:txBody>
          <a:bodyPr wrap="square" lIns="77925" tIns="38963" rIns="77925" bIns="38963" numCol="1">
            <a:spAutoFit/>
          </a:bodyPr>
          <a:lstStyle/>
          <a:p>
            <a:r>
              <a:rPr lang="ru-RU" sz="1050" b="1" dirty="0" smtClean="0"/>
              <a:t>Факторы</a:t>
            </a:r>
            <a:r>
              <a:rPr lang="ru-RU" sz="1050" b="1" dirty="0"/>
              <a:t>, влияющие на результаты </a:t>
            </a:r>
            <a:r>
              <a:rPr lang="ru-RU" sz="1050" b="1" dirty="0"/>
              <a:t>измерений </a:t>
            </a:r>
            <a:r>
              <a:rPr lang="ru-RU" sz="1050" b="1" dirty="0" smtClean="0"/>
              <a:t>    </a:t>
            </a:r>
            <a:r>
              <a:rPr lang="ru-RU" sz="1050" dirty="0" smtClean="0">
                <a:solidFill>
                  <a:schemeClr val="accent1">
                    <a:lumMod val="75000"/>
                  </a:schemeClr>
                </a:solidFill>
                <a:sym typeface="Wingdings"/>
              </a:rPr>
              <a:t> </a:t>
            </a:r>
            <a:r>
              <a:rPr lang="ru-RU" sz="1050" dirty="0">
                <a:solidFill>
                  <a:schemeClr val="accent1">
                    <a:lumMod val="75000"/>
                  </a:schemeClr>
                </a:solidFill>
                <a:sym typeface="Wingdings"/>
              </a:rPr>
              <a:t>Т испытания                    </a:t>
            </a:r>
            <a:r>
              <a:rPr lang="ru-RU" sz="1050" dirty="0" smtClean="0">
                <a:solidFill>
                  <a:schemeClr val="accent1">
                    <a:lumMod val="75000"/>
                  </a:schemeClr>
                </a:solidFill>
                <a:sym typeface="Wingdings"/>
              </a:rPr>
              <a:t> Масса </a:t>
            </a:r>
            <a:r>
              <a:rPr lang="ru-RU" sz="1050" dirty="0" smtClean="0">
                <a:solidFill>
                  <a:schemeClr val="accent1">
                    <a:lumMod val="75000"/>
                  </a:schemeClr>
                </a:solidFill>
                <a:sym typeface="Wingdings"/>
              </a:rPr>
              <a:t>навески </a:t>
            </a:r>
            <a:r>
              <a:rPr lang="ru-RU" sz="1050" dirty="0">
                <a:solidFill>
                  <a:schemeClr val="accent1">
                    <a:lumMod val="75000"/>
                  </a:schemeClr>
                </a:solidFill>
                <a:sym typeface="Wingdings"/>
              </a:rPr>
              <a:t>	</a:t>
            </a:r>
            <a:r>
              <a:rPr lang="ru-RU" sz="1050" dirty="0" smtClean="0">
                <a:solidFill>
                  <a:schemeClr val="accent1">
                    <a:lumMod val="75000"/>
                  </a:schemeClr>
                </a:solidFill>
                <a:sym typeface="Wingdings"/>
              </a:rPr>
              <a:t>    Точность </a:t>
            </a:r>
            <a:r>
              <a:rPr lang="ru-RU" sz="1050" dirty="0">
                <a:solidFill>
                  <a:schemeClr val="accent1">
                    <a:lumMod val="75000"/>
                  </a:schemeClr>
                </a:solidFill>
                <a:sym typeface="Wingdings"/>
              </a:rPr>
              <a:t>взвешивания</a:t>
            </a:r>
          </a:p>
          <a:p>
            <a:endParaRPr lang="ru-RU" sz="1050" dirty="0">
              <a:sym typeface="Wingdings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361067" y="941906"/>
            <a:ext cx="8771450" cy="263353"/>
          </a:xfrm>
          <a:prstGeom prst="rect">
            <a:avLst/>
          </a:prstGeom>
        </p:spPr>
        <p:txBody>
          <a:bodyPr wrap="square" lIns="77925" tIns="38963" rIns="77925" bIns="38963">
            <a:spAutoFit/>
          </a:bodyPr>
          <a:lstStyle/>
          <a:p>
            <a:pPr lvl="0"/>
            <a:r>
              <a:rPr lang="ru-RU" sz="1200" b="1" dirty="0" smtClean="0">
                <a:solidFill>
                  <a:srgbClr val="003D4C"/>
                </a:solidFill>
              </a:rPr>
              <a:t>Ключевые отличия стандартов</a:t>
            </a:r>
            <a:endParaRPr lang="ru-RU" sz="1200" b="1" dirty="0">
              <a:solidFill>
                <a:srgbClr val="003D4C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366032" y="343631"/>
            <a:ext cx="8288457" cy="5372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fontAlgn="base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37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875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14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752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sz="1800" dirty="0"/>
              <a:t>Определение содержания золы</a:t>
            </a:r>
          </a:p>
          <a:p>
            <a:r>
              <a:rPr lang="en-US" sz="1800" dirty="0"/>
              <a:t>ASTM D5630</a:t>
            </a:r>
            <a:r>
              <a:rPr lang="ru-RU" sz="1800" dirty="0"/>
              <a:t>-2013, ГОСТ 15973-82, </a:t>
            </a:r>
            <a:r>
              <a:rPr lang="en-US" sz="1800" dirty="0"/>
              <a:t>ISO 3451</a:t>
            </a:r>
            <a:r>
              <a:rPr lang="ru-RU" sz="1800" dirty="0"/>
              <a:t>-1-2019 (Метод А)</a:t>
            </a:r>
          </a:p>
          <a:p>
            <a:endParaRPr lang="ru-RU" sz="1800" dirty="0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8330376"/>
              </p:ext>
            </p:extLst>
          </p:nvPr>
        </p:nvGraphicFramePr>
        <p:xfrm>
          <a:off x="354918" y="1205259"/>
          <a:ext cx="8636400" cy="3139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10577">
                  <a:extLst>
                    <a:ext uri="{9D8B030D-6E8A-4147-A177-3AD203B41FA5}">
                      <a16:colId xmlns:a16="http://schemas.microsoft.com/office/drawing/2014/main" val="2060319700"/>
                    </a:ext>
                  </a:extLst>
                </a:gridCol>
                <a:gridCol w="2670313">
                  <a:extLst>
                    <a:ext uri="{9D8B030D-6E8A-4147-A177-3AD203B41FA5}">
                      <a16:colId xmlns:a16="http://schemas.microsoft.com/office/drawing/2014/main" val="3257079692"/>
                    </a:ext>
                  </a:extLst>
                </a:gridCol>
                <a:gridCol w="2650435">
                  <a:extLst>
                    <a:ext uri="{9D8B030D-6E8A-4147-A177-3AD203B41FA5}">
                      <a16:colId xmlns:a16="http://schemas.microsoft.com/office/drawing/2014/main" val="691658210"/>
                    </a:ext>
                  </a:extLst>
                </a:gridCol>
                <a:gridCol w="2505075">
                  <a:extLst>
                    <a:ext uri="{9D8B030D-6E8A-4147-A177-3AD203B41FA5}">
                      <a16:colId xmlns:a16="http://schemas.microsoft.com/office/drawing/2014/main" val="3486124765"/>
                    </a:ext>
                  </a:extLst>
                </a:gridCol>
              </a:tblGrid>
              <a:tr h="264875">
                <a:tc>
                  <a:txBody>
                    <a:bodyPr/>
                    <a:lstStyle/>
                    <a:p>
                      <a:pPr marL="0" marR="0" lvl="0" indent="0" algn="ctr" defTabSz="7787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араметр сравнения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STM D5630</a:t>
                      </a:r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-2013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ГОСТ 15973-82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ISO 3451</a:t>
                      </a:r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-1-2019</a:t>
                      </a:r>
                      <a:r>
                        <a:rPr lang="en-US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(</a:t>
                      </a:r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Метод</a:t>
                      </a:r>
                      <a:r>
                        <a:rPr lang="ru-RU" sz="10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А)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32849223"/>
                  </a:ext>
                </a:extLst>
              </a:tr>
              <a:tr h="2383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Условия испытания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стмассы (кроме фторированных и </a:t>
                      </a:r>
                      <a:br>
                        <a:rPr lang="ru-RU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700" b="0" u="none" strike="noStrike" kern="1200" baseline="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алогенизированных</a:t>
                      </a:r>
                      <a:r>
                        <a:rPr lang="ru-RU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полимеров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стмассы (полиолефины и полистирольные пластмассы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стмассы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949714839"/>
                  </a:ext>
                </a:extLst>
              </a:tr>
              <a:tr h="27811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Масса образца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 5 до 50 г</a:t>
                      </a:r>
                      <a:endParaRPr lang="ru-RU" sz="700" b="0" u="none" strike="noStrike" kern="1200" baseline="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сса пробы указана в НТД на продукцию, либо выбирают по таблице в зависимости от предполагаемой массы золы</a:t>
                      </a:r>
                      <a:endParaRPr lang="ru-RU" sz="700" b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менее 1 г;</a:t>
                      </a:r>
                      <a:br>
                        <a:rPr lang="ru-RU" sz="7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7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сса получившейся золы должна быть не менее 5 и не более 500 мг</a:t>
                      </a:r>
                      <a:endParaRPr lang="ru-RU" sz="700" b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19229822"/>
                  </a:ext>
                </a:extLst>
              </a:tr>
              <a:tr h="2383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Число параллелей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 smtClean="0"/>
                        <a:t>Нет</a:t>
                      </a:r>
                      <a:r>
                        <a:rPr lang="ru-RU" sz="700" baseline="0" dirty="0" smtClean="0"/>
                        <a:t> требований</a:t>
                      </a:r>
                      <a:endParaRPr lang="ru-RU" sz="7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менее 2-х</a:t>
                      </a:r>
                      <a:endParaRPr lang="ru-RU" sz="700" b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 smtClean="0"/>
                        <a:t>Нет</a:t>
                      </a:r>
                      <a:r>
                        <a:rPr lang="ru-RU" sz="700" baseline="0" dirty="0" smtClean="0"/>
                        <a:t> требований</a:t>
                      </a:r>
                      <a:endParaRPr lang="ru-RU" sz="7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21213850"/>
                  </a:ext>
                </a:extLst>
              </a:tr>
              <a:tr h="11124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Методика испытания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141288" algn="just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ru-RU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дготовка тигля (прокалить, охладить). </a:t>
                      </a:r>
                    </a:p>
                    <a:p>
                      <a:pPr marL="228600" marR="0" lvl="0" indent="-141288" algn="just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2"/>
                        <a:tabLst/>
                        <a:defRPr/>
                      </a:pPr>
                      <a:r>
                        <a:rPr lang="ru-RU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цедура А: пробу воспламеняют в печи для обжига перед </a:t>
                      </a:r>
                      <a:r>
                        <a:rPr lang="ru-RU" sz="700" b="0" u="none" strike="noStrike" kern="1200" baseline="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золением</a:t>
                      </a:r>
                      <a:r>
                        <a:rPr lang="ru-RU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в муфельной печи.</a:t>
                      </a:r>
                    </a:p>
                    <a:p>
                      <a:pPr marL="228600" marR="0" lvl="0" indent="-141288" algn="just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2"/>
                        <a:tabLst/>
                        <a:defRPr/>
                      </a:pPr>
                      <a:r>
                        <a:rPr lang="ru-RU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цедура В: пробу прокаливают и  </a:t>
                      </a:r>
                      <a:r>
                        <a:rPr lang="ru-RU" sz="700" b="0" u="none" strike="noStrike" kern="1200" baseline="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золяют</a:t>
                      </a:r>
                      <a:r>
                        <a:rPr lang="ru-RU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в муфельной печи.</a:t>
                      </a:r>
                    </a:p>
                    <a:p>
                      <a:pPr marL="228600" marR="0" lvl="0" indent="-141288" algn="just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2"/>
                        <a:tabLst/>
                        <a:defRPr/>
                      </a:pPr>
                      <a:r>
                        <a:rPr lang="ru-RU" sz="7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емпература прокаливания зависит от природы образца:</a:t>
                      </a:r>
                      <a:br>
                        <a:rPr lang="ru-RU" sz="7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7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00</a:t>
                      </a:r>
                      <a:r>
                        <a:rPr lang="ru-RU" sz="700" b="0" u="none" strike="noStrike" kern="1200" baseline="300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</a:t>
                      </a:r>
                      <a:r>
                        <a:rPr lang="ru-RU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</a:t>
                      </a:r>
                      <a:r>
                        <a:rPr lang="ru-RU" sz="7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30 мин - </a:t>
                      </a:r>
                      <a:r>
                        <a:rPr lang="ru-RU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, EVA, EEA, термопластичные эластомеры и термореактивные пластмассы.</a:t>
                      </a:r>
                    </a:p>
                    <a:p>
                      <a:pPr marL="228600" marR="0" lvl="0" indent="-141288" algn="just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7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00</a:t>
                      </a:r>
                      <a:r>
                        <a:rPr lang="ru-RU" sz="700" b="0" u="none" strike="noStrike" kern="1200" baseline="300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</a:t>
                      </a:r>
                      <a:r>
                        <a:rPr lang="ru-RU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</a:t>
                      </a:r>
                      <a:r>
                        <a:rPr lang="ru-RU" sz="7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30 мин - </a:t>
                      </a:r>
                      <a:r>
                        <a:rPr lang="en-US" sz="7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S, ABS, SBS, SIBS, SEBS, PC, PET, PBT,</a:t>
                      </a:r>
                      <a:r>
                        <a:rPr lang="ru-RU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полиамидные соединения.</a:t>
                      </a:r>
                    </a:p>
                    <a:p>
                      <a:pPr marL="228600" marR="0" lvl="0" indent="-141288" algn="just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5"/>
                        <a:tabLst/>
                        <a:defRPr/>
                      </a:pPr>
                      <a:r>
                        <a:rPr lang="ru-RU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вторять прокаливание пока разница между взвешиваниями будет не более 2мг</a:t>
                      </a:r>
                      <a:r>
                        <a:rPr lang="ru-RU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ru-RU" sz="700" b="0" u="none" strike="noStrike" kern="1200" baseline="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228600" marR="0" lvl="0" indent="-141288" algn="just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ru-RU" sz="7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дготовка тигля (прокалить, охладить).</a:t>
                      </a:r>
                      <a:endParaRPr lang="ru-RU" sz="700" b="0" u="none" strike="noStrike" kern="1200" baseline="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28600" marR="0" lvl="0" indent="-141288" algn="just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 startAt="2"/>
                        <a:tabLst/>
                        <a:defRPr/>
                      </a:pPr>
                      <a:r>
                        <a:rPr lang="ru-RU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степенное сжигание образца: (400±50)</a:t>
                      </a:r>
                      <a:r>
                        <a:rPr lang="ru-RU" sz="700" b="0" u="none" strike="noStrike" kern="1200" baseline="300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</a:t>
                      </a:r>
                      <a:r>
                        <a:rPr lang="ru-RU" sz="700" b="0" u="none" strike="noStrike" kern="1200" baseline="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</a:t>
                      </a:r>
                      <a:r>
                        <a:rPr lang="ru-RU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; (600±50)</a:t>
                      </a:r>
                      <a:r>
                        <a:rPr lang="ru-RU" sz="700" b="0" u="none" strike="noStrike" kern="1200" baseline="300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</a:t>
                      </a:r>
                      <a:r>
                        <a:rPr lang="ru-RU" sz="700" b="0" u="none" strike="noStrike" kern="1200" baseline="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</a:t>
                      </a:r>
                      <a:r>
                        <a:rPr lang="ru-RU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; (850±50)</a:t>
                      </a:r>
                      <a:r>
                        <a:rPr lang="ru-RU" sz="700" b="0" u="none" strike="noStrike" kern="1200" baseline="300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</a:t>
                      </a:r>
                      <a:r>
                        <a:rPr lang="ru-RU" sz="700" b="0" u="none" strike="noStrike" kern="1200" baseline="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</a:t>
                      </a:r>
                      <a:endParaRPr lang="ru-RU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228600" marR="0" lvl="0" indent="-141288" algn="just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 startAt="2"/>
                        <a:tabLst/>
                        <a:defRPr/>
                      </a:pPr>
                      <a:r>
                        <a:rPr lang="ru-RU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и (850±50)</a:t>
                      </a:r>
                      <a:r>
                        <a:rPr lang="ru-RU" sz="700" b="0" u="none" strike="noStrike" kern="1200" baseline="300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</a:t>
                      </a:r>
                      <a:r>
                        <a:rPr lang="ru-RU" sz="700" b="0" u="none" strike="noStrike" kern="1200" baseline="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</a:t>
                      </a:r>
                      <a:r>
                        <a:rPr lang="ru-RU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прокалить остаток: 30 мин (ПЭ) </a:t>
                      </a:r>
                      <a:br>
                        <a:rPr lang="ru-RU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 60 мин (ПС).</a:t>
                      </a:r>
                    </a:p>
                    <a:p>
                      <a:pPr marL="228600" marR="0" lvl="0" indent="-141288" algn="just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 startAt="2"/>
                        <a:tabLst/>
                        <a:defRPr/>
                      </a:pPr>
                      <a:r>
                        <a:rPr lang="ru-RU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вторять прокаливание пока разница между взвешиваниями будет не более 0.2 мг.</a:t>
                      </a:r>
                    </a:p>
                    <a:p>
                      <a:pPr marL="228600" marR="0" lvl="0" indent="-141288" algn="just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 startAt="2"/>
                        <a:tabLst/>
                        <a:defRPr/>
                      </a:pPr>
                      <a:endParaRPr lang="ru-RU" sz="700" b="0" u="none" strike="noStrike" kern="1200" baseline="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28600" marR="0" lvl="0" indent="-141288" algn="just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 startAt="2"/>
                        <a:tabLst/>
                        <a:defRPr/>
                      </a:pPr>
                      <a:endParaRPr lang="ru-RU" sz="700" b="0" u="none" strike="noStrike" kern="1200" baseline="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7312" marR="0" lvl="0" indent="0" algn="just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ост 16338-85 п 5.12 (для полиэтилена низкого давления) -  аналогичен ГОСТ 15973-82, но </a:t>
                      </a:r>
                      <a:r>
                        <a:rPr lang="ru-RU" sz="700" b="0" u="none" strike="noStrike" kern="1200" baseline="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золение</a:t>
                      </a:r>
                      <a:r>
                        <a:rPr lang="ru-RU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в токе азота.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228600" marR="0" lvl="0" indent="-141288" algn="just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ru-RU" sz="7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дготовка тигля (прокалить, охладить).</a:t>
                      </a:r>
                      <a:endParaRPr lang="ru-RU" sz="700" b="0" u="none" strike="noStrike" kern="1200" baseline="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28600" marR="0" lvl="0" indent="-141288" algn="just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ru-RU" sz="7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жигание пробы перед</a:t>
                      </a:r>
                      <a:r>
                        <a:rPr lang="ru-RU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700" b="0" u="none" strike="noStrike" kern="1200" baseline="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золением</a:t>
                      </a:r>
                      <a:r>
                        <a:rPr lang="ru-RU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ru-RU" sz="700" b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28600" marR="0" lvl="0" indent="-141288" algn="just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ru-RU" sz="7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емпература прокаливания зависит от природы образца:</a:t>
                      </a:r>
                      <a:br>
                        <a:rPr lang="ru-RU" sz="7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7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600</a:t>
                      </a:r>
                      <a:r>
                        <a:rPr lang="ru-RU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±</a:t>
                      </a:r>
                      <a:r>
                        <a:rPr lang="ru-RU" sz="7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)</a:t>
                      </a:r>
                      <a:r>
                        <a:rPr lang="ru-RU" sz="700" b="0" u="none" strike="noStrike" kern="1200" baseline="300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700" b="0" u="none" strike="noStrike" kern="1200" baseline="300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</a:t>
                      </a:r>
                      <a:r>
                        <a:rPr lang="ru-RU" sz="700" b="0" u="none" strike="noStrike" kern="1200" baseline="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</a:t>
                      </a:r>
                      <a:r>
                        <a:rPr lang="ru-RU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или </a:t>
                      </a:r>
                      <a:r>
                        <a:rPr lang="ru-RU" sz="7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750</a:t>
                      </a:r>
                      <a:r>
                        <a:rPr lang="ru-RU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±</a:t>
                      </a:r>
                      <a:r>
                        <a:rPr lang="ru-RU" sz="7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)</a:t>
                      </a:r>
                      <a:r>
                        <a:rPr lang="ru-RU" sz="700" b="0" u="none" strike="noStrike" kern="1200" baseline="300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700" b="0" u="none" strike="noStrike" kern="1200" baseline="300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</a:t>
                      </a:r>
                      <a:r>
                        <a:rPr lang="ru-RU" sz="700" b="0" u="none" strike="noStrike" kern="1200" baseline="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</a:t>
                      </a:r>
                      <a:r>
                        <a:rPr lang="ru-RU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или </a:t>
                      </a:r>
                      <a:r>
                        <a:rPr lang="ru-RU" sz="7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850</a:t>
                      </a:r>
                      <a:r>
                        <a:rPr lang="ru-RU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±</a:t>
                      </a:r>
                      <a:r>
                        <a:rPr lang="ru-RU" sz="7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)</a:t>
                      </a:r>
                      <a:r>
                        <a:rPr lang="ru-RU" sz="700" b="0" u="none" strike="noStrike" kern="1200" baseline="300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700" b="0" u="none" strike="noStrike" kern="1200" baseline="300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</a:t>
                      </a:r>
                      <a:r>
                        <a:rPr lang="ru-RU" sz="700" b="0" u="none" strike="noStrike" kern="1200" baseline="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</a:t>
                      </a:r>
                      <a:r>
                        <a:rPr lang="ru-RU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или</a:t>
                      </a:r>
                      <a:r>
                        <a:rPr lang="ru-RU" sz="7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950</a:t>
                      </a:r>
                      <a:r>
                        <a:rPr lang="ru-RU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±</a:t>
                      </a:r>
                      <a:r>
                        <a:rPr lang="ru-RU" sz="7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)</a:t>
                      </a:r>
                      <a:r>
                        <a:rPr lang="ru-RU" sz="700" b="0" u="none" strike="noStrike" kern="1200" baseline="300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700" b="0" u="none" strike="noStrike" kern="1200" baseline="300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</a:t>
                      </a:r>
                      <a:r>
                        <a:rPr lang="ru-RU" sz="700" b="0" u="none" strike="noStrike" kern="1200" baseline="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</a:t>
                      </a:r>
                      <a:r>
                        <a:rPr lang="ru-RU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228600" marR="0" lvl="0" indent="-141288" algn="just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ru-RU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вторять прокаливание пока разница между взвешиваниями не будет меньше 0.5 мг.</a:t>
                      </a:r>
                      <a:endParaRPr lang="ru-RU" sz="700" b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07978834"/>
                  </a:ext>
                </a:extLst>
              </a:tr>
              <a:tr h="2383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Результаты </a:t>
                      </a:r>
                      <a:r>
                        <a:rPr lang="ru-RU" sz="9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испытания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u="none" strike="noStrike" dirty="0" smtClean="0">
                          <a:effectLst/>
                          <a:latin typeface="+mn-lt"/>
                        </a:rPr>
                        <a:t>Содержание золы, % (масс) </a:t>
                      </a:r>
                      <a:r>
                        <a:rPr lang="ru-RU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содержание золы ≥ 1%)</a:t>
                      </a:r>
                    </a:p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одержание золы, </a:t>
                      </a:r>
                      <a:r>
                        <a:rPr lang="en-US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pm</a:t>
                      </a:r>
                      <a:r>
                        <a:rPr lang="ru-RU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содержание золы ˂ 1%)</a:t>
                      </a:r>
                      <a:endParaRPr lang="ru-RU" sz="700" b="0" u="none" strike="noStrike" kern="1200" baseline="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u="none" strike="noStrike" dirty="0" smtClean="0">
                          <a:effectLst/>
                          <a:latin typeface="+mn-lt"/>
                        </a:rPr>
                        <a:t>Содержание золы, % (масс)</a:t>
                      </a:r>
                      <a:endParaRPr lang="ru-RU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u="none" strike="noStrike" dirty="0" smtClean="0">
                          <a:effectLst/>
                          <a:latin typeface="+mn-lt"/>
                        </a:rPr>
                        <a:t>Содержание золы, % (масс)</a:t>
                      </a:r>
                      <a:endParaRPr lang="ru-RU" sz="7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270687654"/>
                  </a:ext>
                </a:extLst>
              </a:tr>
              <a:tr h="35758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Точность выдаваемого результата</a:t>
                      </a:r>
                    </a:p>
                  </a:txBody>
                  <a:tcPr marL="0" marR="0" marT="0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u="none" strike="noStrike" dirty="0" smtClean="0">
                          <a:effectLst/>
                          <a:latin typeface="+mn-lt"/>
                        </a:rPr>
                        <a:t>% - до 2-х десятичных знаков;</a:t>
                      </a:r>
                    </a:p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pm</a:t>
                      </a:r>
                      <a:r>
                        <a:rPr lang="ru-RU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до 10 </a:t>
                      </a:r>
                      <a:r>
                        <a:rPr lang="en-US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pm</a:t>
                      </a:r>
                      <a:endParaRPr lang="ru-RU" sz="700" b="0" u="none" strike="noStrike" kern="1200" baseline="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u="none" strike="noStrike" dirty="0" smtClean="0">
                          <a:effectLst/>
                          <a:latin typeface="+mn-lt"/>
                        </a:rPr>
                        <a:t>до 2-х десятичных знаков</a:t>
                      </a:r>
                      <a:endParaRPr lang="ru-RU" sz="700" b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одержание золы ˃ 1%</a:t>
                      </a:r>
                      <a:r>
                        <a:rPr lang="ru-RU" sz="700" b="0" u="none" strike="noStrike" dirty="0" smtClean="0">
                          <a:effectLst/>
                          <a:latin typeface="+mn-lt"/>
                        </a:rPr>
                        <a:t> - до 2-х десятичных знаков;</a:t>
                      </a:r>
                    </a:p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одержание золы ˂ 1% – </a:t>
                      </a:r>
                      <a:r>
                        <a:rPr lang="ru-RU" sz="700" b="0" u="none" strike="noStrike" dirty="0" smtClean="0">
                          <a:effectLst/>
                          <a:latin typeface="+mn-lt"/>
                        </a:rPr>
                        <a:t>до 3-х десятичных знаков</a:t>
                      </a:r>
                      <a:endParaRPr lang="ru-RU" sz="700" b="0" u="none" strike="noStrike" kern="1200" baseline="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414405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84995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90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3</a:t>
            </a:fld>
            <a:endParaRPr lang="ru-RU" dirty="0"/>
          </a:p>
        </p:txBody>
      </p:sp>
      <p:pic>
        <p:nvPicPr>
          <p:cNvPr id="35" name="Рисунок 34"/>
          <p:cNvPicPr>
            <a:picLocks noGrp="1" noChangeAspect="1"/>
          </p:cNvPicPr>
          <p:nvPr>
            <p:ph type="pic" sz="quarter" idx="13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83726" y="2517177"/>
            <a:ext cx="1044000" cy="1044000"/>
          </a:xfrm>
        </p:spPr>
      </p:pic>
      <p:sp>
        <p:nvSpPr>
          <p:cNvPr id="18" name="Текст 17"/>
          <p:cNvSpPr>
            <a:spLocks noGrp="1"/>
          </p:cNvSpPr>
          <p:nvPr>
            <p:ph type="body" sz="quarter" idx="14"/>
          </p:nvPr>
        </p:nvSpPr>
        <p:spPr>
          <a:xfrm>
            <a:off x="679474" y="3561177"/>
            <a:ext cx="1052504" cy="274426"/>
          </a:xfrm>
        </p:spPr>
        <p:txBody>
          <a:bodyPr/>
          <a:lstStyle/>
          <a:p>
            <a:pPr lvl="3" algn="ctr"/>
            <a:r>
              <a:rPr lang="en-US" sz="1200" b="1" dirty="0" smtClean="0"/>
              <a:t>www.sibur.ru</a:t>
            </a:r>
            <a:endParaRPr lang="ru-RU" sz="1200" b="1" dirty="0"/>
          </a:p>
        </p:txBody>
      </p:sp>
      <p:sp>
        <p:nvSpPr>
          <p:cNvPr id="19" name="Текст 18"/>
          <p:cNvSpPr>
            <a:spLocks noGrp="1"/>
          </p:cNvSpPr>
          <p:nvPr>
            <p:ph type="body" sz="quarter" idx="15"/>
          </p:nvPr>
        </p:nvSpPr>
        <p:spPr>
          <a:xfrm>
            <a:off x="4739067" y="3551441"/>
            <a:ext cx="1243535" cy="284162"/>
          </a:xfrm>
        </p:spPr>
        <p:txBody>
          <a:bodyPr/>
          <a:lstStyle/>
          <a:p>
            <a:pPr lvl="3" algn="ctr"/>
            <a:r>
              <a:rPr lang="ru-RU" sz="1200" b="1" dirty="0" err="1" smtClean="0"/>
              <a:t>Сибур</a:t>
            </a:r>
            <a:r>
              <a:rPr lang="ru-RU" sz="1200" b="1" dirty="0" smtClean="0"/>
              <a:t> </a:t>
            </a:r>
            <a:r>
              <a:rPr lang="ru-RU" sz="1200" b="1" dirty="0" err="1" smtClean="0"/>
              <a:t>Полилаб</a:t>
            </a:r>
            <a:endParaRPr lang="en-US" sz="1200" b="1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6"/>
          </p:nvPr>
        </p:nvSpPr>
        <p:spPr>
          <a:xfrm>
            <a:off x="2765534" y="3574651"/>
            <a:ext cx="1044000" cy="284162"/>
          </a:xfrm>
        </p:spPr>
        <p:txBody>
          <a:bodyPr/>
          <a:lstStyle/>
          <a:p>
            <a:pPr lvl="3" algn="ctr"/>
            <a:r>
              <a:rPr lang="en-US" sz="1200" b="1" dirty="0"/>
              <a:t>siburpolylab</a:t>
            </a:r>
          </a:p>
        </p:txBody>
      </p:sp>
      <p:sp>
        <p:nvSpPr>
          <p:cNvPr id="25" name="Текст 24"/>
          <p:cNvSpPr>
            <a:spLocks noGrp="1"/>
          </p:cNvSpPr>
          <p:nvPr>
            <p:ph type="body" sz="quarter" idx="22"/>
          </p:nvPr>
        </p:nvSpPr>
        <p:spPr>
          <a:xfrm>
            <a:off x="6433741" y="3551441"/>
            <a:ext cx="2042430" cy="284162"/>
          </a:xfrm>
        </p:spPr>
        <p:txBody>
          <a:bodyPr/>
          <a:lstStyle/>
          <a:p>
            <a:pPr lvl="3" algn="ctr"/>
            <a:r>
              <a:rPr lang="en-US" sz="1200" b="1" dirty="0"/>
              <a:t>https://businesspractices.ru</a:t>
            </a:r>
          </a:p>
        </p:txBody>
      </p:sp>
      <p:sp>
        <p:nvSpPr>
          <p:cNvPr id="33" name="Текст 32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ru-RU" dirty="0" smtClean="0"/>
              <a:t> </a:t>
            </a:r>
            <a:r>
              <a:rPr lang="ru-RU" dirty="0"/>
              <a:t>+7 (495</a:t>
            </a:r>
            <a:r>
              <a:rPr lang="ru-RU" dirty="0" smtClean="0"/>
              <a:t>) 280 72 84</a:t>
            </a:r>
            <a:endParaRPr lang="ru-RU" dirty="0"/>
          </a:p>
        </p:txBody>
      </p:sp>
      <p:sp>
        <p:nvSpPr>
          <p:cNvPr id="34" name="Текст 33"/>
          <p:cNvSpPr>
            <a:spLocks noGrp="1"/>
          </p:cNvSpPr>
          <p:nvPr>
            <p:ph type="body" sz="quarter" idx="31"/>
          </p:nvPr>
        </p:nvSpPr>
        <p:spPr>
          <a:xfrm>
            <a:off x="2192315" y="1131888"/>
            <a:ext cx="3960000" cy="284162"/>
          </a:xfrm>
        </p:spPr>
        <p:txBody>
          <a:bodyPr/>
          <a:lstStyle/>
          <a:p>
            <a:r>
              <a:rPr lang="en-US" dirty="0"/>
              <a:t>E-mail: </a:t>
            </a:r>
            <a:r>
              <a:rPr lang="en-US" dirty="0" smtClean="0"/>
              <a:t>polylab@sibur.ru</a:t>
            </a:r>
            <a:endParaRPr lang="en-US" dirty="0"/>
          </a:p>
        </p:txBody>
      </p:sp>
      <p:sp>
        <p:nvSpPr>
          <p:cNvPr id="44" name="Заголовок 12"/>
          <p:cNvSpPr>
            <a:spLocks noGrp="1"/>
          </p:cNvSpPr>
          <p:nvPr>
            <p:ph type="title"/>
          </p:nvPr>
        </p:nvSpPr>
        <p:spPr>
          <a:xfrm>
            <a:off x="358772" y="353118"/>
            <a:ext cx="8726022" cy="716097"/>
          </a:xfrm>
        </p:spPr>
        <p:txBody>
          <a:bodyPr vert="horz"/>
          <a:lstStyle/>
          <a:p>
            <a:r>
              <a:rPr lang="ru-RU" dirty="0"/>
              <a:t>Ждем Вас на страницах официальных аккаунтов </a:t>
            </a:r>
            <a:r>
              <a:rPr lang="ru-RU" dirty="0" smtClean="0"/>
              <a:t>СИБУР </a:t>
            </a:r>
            <a:r>
              <a:rPr lang="ru-RU" dirty="0" err="1" smtClean="0"/>
              <a:t>ПолиЛаб</a:t>
            </a:r>
            <a:r>
              <a:rPr lang="ru-RU" dirty="0" smtClean="0"/>
              <a:t>!</a:t>
            </a:r>
            <a:endParaRPr lang="ru-RU" dirty="0"/>
          </a:p>
        </p:txBody>
      </p:sp>
      <p:pic>
        <p:nvPicPr>
          <p:cNvPr id="47" name="Рисунок 46"/>
          <p:cNvPicPr>
            <a:picLocks noGrp="1" noChangeAspect="1"/>
          </p:cNvPicPr>
          <p:nvPr>
            <p:ph type="pic" sz="quarter" idx="25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765534" y="2528565"/>
            <a:ext cx="1044000" cy="1044000"/>
          </a:xfrm>
        </p:spPr>
      </p:pic>
      <p:pic>
        <p:nvPicPr>
          <p:cNvPr id="46" name="Picture 4" descr="http://qrcoder.ru/code/?https%3A%2F%2Ft.me%2Fsiburpolylab&amp;4&amp;0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80" t="11382" r="11064" b="11015"/>
          <a:stretch/>
        </p:blipFill>
        <p:spPr bwMode="auto">
          <a:xfrm>
            <a:off x="2859027" y="2620220"/>
            <a:ext cx="857014" cy="853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4" descr="http://qrcoder.ru/code/?https%3A%2F%2Fbusinesspractices.ru%2F&amp;4&amp;0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48" t="3985" r="4317" b="4981"/>
          <a:stretch/>
        </p:blipFill>
        <p:spPr bwMode="auto">
          <a:xfrm>
            <a:off x="6932956" y="2507440"/>
            <a:ext cx="1044000" cy="1044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Текст 10"/>
          <p:cNvSpPr txBox="1">
            <a:spLocks/>
          </p:cNvSpPr>
          <p:nvPr/>
        </p:nvSpPr>
        <p:spPr>
          <a:xfrm>
            <a:off x="260193" y="1939631"/>
            <a:ext cx="1891066" cy="548982"/>
          </a:xfrm>
          <a:prstGeom prst="rect">
            <a:avLst/>
          </a:prstGeom>
        </p:spPr>
        <p:txBody>
          <a:bodyPr anchor="b"/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charset="2"/>
              <a:buNone/>
              <a:defRPr lang="ru-RU" altLang="en-US" sz="1400" b="1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1200" b="1" dirty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1000" dirty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914400"/>
            <a:r>
              <a:rPr lang="ru-RU" altLang="en-US" sz="1200" dirty="0"/>
              <a:t>Электронный журнал СИБУР </a:t>
            </a:r>
            <a:r>
              <a:rPr lang="ru-RU" altLang="en-US" sz="1200" dirty="0" smtClean="0"/>
              <a:t>Клиентам</a:t>
            </a:r>
            <a:endParaRPr lang="ru-RU" altLang="en-US" sz="1200" dirty="0"/>
          </a:p>
        </p:txBody>
      </p:sp>
      <p:sp>
        <p:nvSpPr>
          <p:cNvPr id="24" name="Текст 10"/>
          <p:cNvSpPr txBox="1">
            <a:spLocks/>
          </p:cNvSpPr>
          <p:nvPr/>
        </p:nvSpPr>
        <p:spPr>
          <a:xfrm>
            <a:off x="6509423" y="1939631"/>
            <a:ext cx="1891066" cy="548982"/>
          </a:xfrm>
          <a:prstGeom prst="rect">
            <a:avLst/>
          </a:prstGeom>
        </p:spPr>
        <p:txBody>
          <a:bodyPr anchor="b"/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charset="2"/>
              <a:buNone/>
              <a:defRPr lang="ru-RU" altLang="en-US" sz="1400" b="1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1200" b="1" dirty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1000" dirty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914400"/>
            <a:r>
              <a:rPr lang="ru-RU" altLang="en-US" sz="1200" dirty="0" smtClean="0"/>
              <a:t>Бизнес-практики </a:t>
            </a:r>
            <a:r>
              <a:rPr lang="ru-RU" altLang="en-US" sz="1200" dirty="0" err="1" smtClean="0"/>
              <a:t>СИБУРа</a:t>
            </a:r>
            <a:endParaRPr lang="en-US" kern="0" dirty="0"/>
          </a:p>
        </p:txBody>
      </p:sp>
      <p:sp>
        <p:nvSpPr>
          <p:cNvPr id="26" name="Текст 10"/>
          <p:cNvSpPr txBox="1">
            <a:spLocks/>
          </p:cNvSpPr>
          <p:nvPr/>
        </p:nvSpPr>
        <p:spPr>
          <a:xfrm>
            <a:off x="2342001" y="1939631"/>
            <a:ext cx="1891066" cy="548982"/>
          </a:xfrm>
          <a:prstGeom prst="rect">
            <a:avLst/>
          </a:prstGeom>
        </p:spPr>
        <p:txBody>
          <a:bodyPr anchor="b"/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charset="2"/>
              <a:buNone/>
              <a:defRPr lang="ru-RU" altLang="en-US" sz="1400" b="1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1200" b="1" dirty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1000" dirty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914400"/>
            <a:r>
              <a:rPr lang="ru-RU" altLang="en-US" sz="1200" dirty="0" err="1" smtClean="0"/>
              <a:t>Телеграм</a:t>
            </a:r>
            <a:endParaRPr lang="ru-RU" altLang="en-US" sz="1200" dirty="0"/>
          </a:p>
        </p:txBody>
      </p:sp>
      <p:sp>
        <p:nvSpPr>
          <p:cNvPr id="27" name="Текст 10"/>
          <p:cNvSpPr txBox="1">
            <a:spLocks/>
          </p:cNvSpPr>
          <p:nvPr/>
        </p:nvSpPr>
        <p:spPr>
          <a:xfrm>
            <a:off x="4423809" y="1939631"/>
            <a:ext cx="1891066" cy="548982"/>
          </a:xfrm>
          <a:prstGeom prst="rect">
            <a:avLst/>
          </a:prstGeom>
        </p:spPr>
        <p:txBody>
          <a:bodyPr anchor="b"/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charset="2"/>
              <a:buNone/>
              <a:defRPr lang="ru-RU" altLang="en-US" sz="1400" b="1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1200" b="1" dirty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1000" dirty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914400"/>
            <a:r>
              <a:rPr lang="ru-RU" altLang="en-US" sz="1200" dirty="0" err="1" smtClean="0"/>
              <a:t>Вконтакте</a:t>
            </a:r>
            <a:endParaRPr lang="ru-RU" altLang="en-US" sz="1200" dirty="0"/>
          </a:p>
        </p:txBody>
      </p:sp>
      <p:pic>
        <p:nvPicPr>
          <p:cNvPr id="927794" name="Picture 50" descr="http://qrcoder.ru/code/?https%3A%2F%2Fvk.com%2Fid710158666&amp;4&amp;0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8835" y="2517177"/>
            <a:ext cx="1043999" cy="104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7797" name="Picture 53" descr="в WhatsApp. в Telegram. "/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3125" b="97188" l="9549" r="89655">
                        <a14:foregroundMark x1="29708" y1="53750" x2="71618" y2="28438"/>
                        <a14:foregroundMark x1="39788" y1="69688" x2="68170" y2="32813"/>
                        <a14:foregroundMark x1="52520" y1="75625" x2="67109" y2="3156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1660" t="4573" r="11660" b="5090"/>
          <a:stretch/>
        </p:blipFill>
        <p:spPr bwMode="auto">
          <a:xfrm>
            <a:off x="3089534" y="1844039"/>
            <a:ext cx="396000" cy="3960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7801" name="Picture 57" descr="https://www.sostav.ru/images/news/2020/11/03/nixxjpl6.jpg"/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97" t="40398" r="71278" b="40713"/>
          <a:stretch/>
        </p:blipFill>
        <p:spPr bwMode="auto">
          <a:xfrm>
            <a:off x="5162834" y="1844039"/>
            <a:ext cx="396000" cy="3960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90040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4982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028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 bwMode="auto">
          <a:xfrm>
            <a:off x="0" y="0"/>
            <a:ext cx="9144000" cy="273264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Заголовок 10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>
                <a:solidFill>
                  <a:schemeClr val="bg1"/>
                </a:solidFill>
              </a:rPr>
              <a:t>Контактная информация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4</a:t>
            </a:fld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43"/>
          </p:nvPr>
        </p:nvSpPr>
        <p:spPr>
          <a:xfrm>
            <a:off x="2515480" y="1527175"/>
            <a:ext cx="2073097" cy="1779495"/>
          </a:xfrm>
        </p:spPr>
        <p:txBody>
          <a:bodyPr/>
          <a:lstStyle/>
          <a:p>
            <a:r>
              <a:rPr lang="ru-RU" sz="1800" dirty="0" smtClean="0">
                <a:solidFill>
                  <a:schemeClr val="bg1"/>
                </a:solidFill>
              </a:rPr>
              <a:t>Юлия </a:t>
            </a:r>
          </a:p>
          <a:p>
            <a:r>
              <a:rPr lang="ru-RU" sz="1800" dirty="0" smtClean="0">
                <a:solidFill>
                  <a:schemeClr val="bg1"/>
                </a:solidFill>
              </a:rPr>
              <a:t>Брусина</a:t>
            </a:r>
          </a:p>
          <a:p>
            <a:pPr lvl="1"/>
            <a:r>
              <a:rPr lang="ru-RU" sz="1100" dirty="0" smtClean="0">
                <a:solidFill>
                  <a:schemeClr val="bg1"/>
                </a:solidFill>
              </a:rPr>
              <a:t>Главный эксперт</a:t>
            </a:r>
            <a:br>
              <a:rPr lang="ru-RU" sz="1100" dirty="0" smtClean="0">
                <a:solidFill>
                  <a:schemeClr val="bg1"/>
                </a:solidFill>
              </a:rPr>
            </a:br>
            <a:r>
              <a:rPr lang="ru-RU" sz="1100" dirty="0" smtClean="0">
                <a:solidFill>
                  <a:schemeClr val="bg1"/>
                </a:solidFill>
              </a:rPr>
              <a:t>Испытательный </a:t>
            </a:r>
            <a:br>
              <a:rPr lang="ru-RU" sz="1100" dirty="0" smtClean="0">
                <a:solidFill>
                  <a:schemeClr val="bg1"/>
                </a:solidFill>
              </a:rPr>
            </a:br>
            <a:r>
              <a:rPr lang="ru-RU" sz="1100" dirty="0" smtClean="0">
                <a:solidFill>
                  <a:schemeClr val="bg1"/>
                </a:solidFill>
              </a:rPr>
              <a:t>центр</a:t>
            </a:r>
          </a:p>
          <a:p>
            <a:pPr lvl="2"/>
            <a:r>
              <a:rPr lang="ru-RU" sz="1100" dirty="0" smtClean="0">
                <a:solidFill>
                  <a:schemeClr val="tx1"/>
                </a:solidFill>
              </a:rPr>
              <a:t>+7 (495) 280 72 84, 1208</a:t>
            </a:r>
          </a:p>
          <a:p>
            <a:pPr lvl="2"/>
            <a:r>
              <a:rPr lang="en-US" sz="1100" dirty="0" smtClean="0">
                <a:solidFill>
                  <a:schemeClr val="tx1"/>
                </a:solidFill>
              </a:rPr>
              <a:t>BrusinaYuE@sibur.ru</a:t>
            </a:r>
            <a:endParaRPr lang="ru-RU" sz="1100" dirty="0" smtClean="0">
              <a:solidFill>
                <a:schemeClr val="tx1"/>
              </a:solidFill>
            </a:endParaRPr>
          </a:p>
          <a:p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9" name="Прямоугольник 8">
            <a:hlinkClick r:id="rId6"/>
          </p:cNvPr>
          <p:cNvSpPr/>
          <p:nvPr/>
        </p:nvSpPr>
        <p:spPr bwMode="auto">
          <a:xfrm>
            <a:off x="3933582" y="2571750"/>
            <a:ext cx="2075332" cy="37039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6" name="Текст 12"/>
          <p:cNvSpPr txBox="1">
            <a:spLocks/>
          </p:cNvSpPr>
          <p:nvPr/>
        </p:nvSpPr>
        <p:spPr>
          <a:xfrm>
            <a:off x="6943762" y="1527175"/>
            <a:ext cx="2073097" cy="32336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baseline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/>
            <a:r>
              <a:rPr lang="ru-RU" sz="1800" kern="0" dirty="0" smtClean="0">
                <a:solidFill>
                  <a:schemeClr val="bg1"/>
                </a:solidFill>
              </a:rPr>
              <a:t>Елена</a:t>
            </a:r>
            <a:br>
              <a:rPr lang="ru-RU" sz="1800" kern="0" dirty="0" smtClean="0">
                <a:solidFill>
                  <a:schemeClr val="bg1"/>
                </a:solidFill>
              </a:rPr>
            </a:br>
            <a:r>
              <a:rPr lang="ru-RU" sz="1800" kern="0" dirty="0" smtClean="0">
                <a:solidFill>
                  <a:schemeClr val="bg1"/>
                </a:solidFill>
              </a:rPr>
              <a:t>Лукошко</a:t>
            </a:r>
          </a:p>
          <a:p>
            <a:pPr lvl="1"/>
            <a:r>
              <a:rPr lang="ru-RU" sz="1100" dirty="0">
                <a:solidFill>
                  <a:schemeClr val="bg1"/>
                </a:solidFill>
              </a:rPr>
              <a:t>Главный </a:t>
            </a:r>
            <a:r>
              <a:rPr lang="ru-RU" sz="1100" dirty="0" smtClean="0">
                <a:solidFill>
                  <a:schemeClr val="bg1"/>
                </a:solidFill>
              </a:rPr>
              <a:t>специалист</a:t>
            </a:r>
            <a:r>
              <a:rPr lang="ru-RU" sz="1100" dirty="0">
                <a:solidFill>
                  <a:schemeClr val="bg1"/>
                </a:solidFill>
              </a:rPr>
              <a:t/>
            </a:r>
            <a:br>
              <a:rPr lang="ru-RU" sz="1100" dirty="0">
                <a:solidFill>
                  <a:schemeClr val="bg1"/>
                </a:solidFill>
              </a:rPr>
            </a:br>
            <a:r>
              <a:rPr lang="ru-RU" sz="1100" dirty="0">
                <a:solidFill>
                  <a:schemeClr val="bg1"/>
                </a:solidFill>
              </a:rPr>
              <a:t>Испытательный </a:t>
            </a:r>
            <a:br>
              <a:rPr lang="ru-RU" sz="1100" dirty="0">
                <a:solidFill>
                  <a:schemeClr val="bg1"/>
                </a:solidFill>
              </a:rPr>
            </a:br>
            <a:r>
              <a:rPr lang="ru-RU" sz="1100" dirty="0">
                <a:solidFill>
                  <a:schemeClr val="bg1"/>
                </a:solidFill>
              </a:rPr>
              <a:t>центр</a:t>
            </a:r>
          </a:p>
          <a:p>
            <a:pPr lvl="2" defTabSz="914400"/>
            <a:r>
              <a:rPr lang="ru-RU" sz="1100" kern="0" dirty="0" smtClean="0">
                <a:solidFill>
                  <a:schemeClr val="tx1"/>
                </a:solidFill>
              </a:rPr>
              <a:t>+7(495) 280 72</a:t>
            </a:r>
            <a:r>
              <a:rPr lang="en-US" sz="1100" kern="0" dirty="0" smtClean="0">
                <a:solidFill>
                  <a:schemeClr val="tx1"/>
                </a:solidFill>
              </a:rPr>
              <a:t> </a:t>
            </a:r>
            <a:r>
              <a:rPr lang="ru-RU" sz="1100" kern="0" dirty="0">
                <a:solidFill>
                  <a:schemeClr val="tx1"/>
                </a:solidFill>
              </a:rPr>
              <a:t>84, </a:t>
            </a:r>
            <a:r>
              <a:rPr lang="ru-RU" sz="1100" kern="0" dirty="0" smtClean="0">
                <a:solidFill>
                  <a:schemeClr val="tx1"/>
                </a:solidFill>
              </a:rPr>
              <a:t>1415</a:t>
            </a:r>
          </a:p>
          <a:p>
            <a:pPr lvl="2" defTabSz="914400"/>
            <a:r>
              <a:rPr lang="en-US" sz="1100" kern="0" dirty="0" smtClean="0">
                <a:solidFill>
                  <a:schemeClr val="tx1"/>
                </a:solidFill>
              </a:rPr>
              <a:t>LukoshkoEV@sibur.ru</a:t>
            </a:r>
            <a:endParaRPr lang="ru-RU" sz="1100" kern="0" dirty="0" smtClean="0">
              <a:solidFill>
                <a:schemeClr val="tx1"/>
              </a:solidFill>
            </a:endParaRPr>
          </a:p>
          <a:p>
            <a:pPr defTabSz="914400"/>
            <a:endParaRPr lang="ru-RU" sz="1100" kern="0" dirty="0">
              <a:solidFill>
                <a:schemeClr val="tx1"/>
              </a:solidFill>
            </a:endParaRPr>
          </a:p>
        </p:txBody>
      </p:sp>
      <p:pic>
        <p:nvPicPr>
          <p:cNvPr id="900108" name="Picture 12" descr="http://qrcoder.ru/code/?%CA%EE%ED%F1%F2%E0%ED%F2%E8%ED+%0D%0A%CB%F3%EA%EE%F8%EA%EE%0D%0A%C3%EB%E0%E2%ED%FB%E9+%FD%EA%F1%EF%E5%F0%F2%0D%0A%D0%E5%F6%E5%EF%F2%F3%F0%EE%F1%F2%F0%EE%E5%ED%E8%E5+%E8+%EA%EE%EC%EF%E0%F3%ED%E4%FB%0D%0A%2B7%28495%29+280+72+84%0D%0Alukoshkokos%40sibur.ru&amp;3&amp;0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4312" y="3262632"/>
            <a:ext cx="1250289" cy="1250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0174" name="Picture 78" descr="http://qrcoder.ru/code/?%D2%E0%F2%FC%FF%ED%E0%0D%0A%C7%E8%FF%E4%EE%E2%E0%0D%0A%C3%EB%E0%E2%ED%FB%E9+%FD%EA%F1%EF%E5%F0%F2%0B%C8%F1%EF%FB%F2%E0%F2%E5%EB%FC%ED%FB%E9+%F6%E5%ED%F2%F0%0D%0A+%0D%0A%2B7+%28495%29+280+72+84%2C+1210%0D%0AZiyadovaTaM%40sibur.ru&amp;4&amp;0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6030" y="3263722"/>
            <a:ext cx="1249199" cy="124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45" t="2799" r="8766" b="48312"/>
          <a:stretch/>
        </p:blipFill>
        <p:spPr>
          <a:xfrm>
            <a:off x="358774" y="1381139"/>
            <a:ext cx="1960115" cy="1923101"/>
          </a:xfrm>
          <a:prstGeom prst="ellipse">
            <a:avLst/>
          </a:prstGeom>
          <a:ln w="9525" cap="rnd">
            <a:solidFill>
              <a:schemeClr val="bg2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900259" name="Picture 163" descr="https://social.sibur.ru/upload/resize_cache/main/7fd/288_296_2/7fd6752b92a37203b4c77dcfd6e12890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3155" y="1347334"/>
            <a:ext cx="1904016" cy="1956906"/>
          </a:xfrm>
          <a:prstGeom prst="ellipse">
            <a:avLst/>
          </a:prstGeom>
          <a:ln w="9525" cap="rnd">
            <a:solidFill>
              <a:schemeClr val="bg2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45886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59"/>
          <p:cNvSpPr/>
          <p:nvPr/>
        </p:nvSpPr>
        <p:spPr bwMode="auto">
          <a:xfrm>
            <a:off x="361951" y="3162677"/>
            <a:ext cx="8316913" cy="720000"/>
          </a:xfrm>
          <a:prstGeom prst="rect">
            <a:avLst/>
          </a:prstGeom>
          <a:gradFill flip="none" rotWithShape="1">
            <a:gsLst>
              <a:gs pos="0">
                <a:srgbClr val="008CFA">
                  <a:tint val="66000"/>
                  <a:satMod val="160000"/>
                </a:srgbClr>
              </a:gs>
              <a:gs pos="50000">
                <a:srgbClr val="008CFA">
                  <a:tint val="44500"/>
                  <a:satMod val="160000"/>
                </a:srgbClr>
              </a:gs>
              <a:gs pos="100000">
                <a:srgbClr val="008CFA">
                  <a:tint val="23500"/>
                  <a:satMod val="160000"/>
                </a:srgbClr>
              </a:gs>
            </a:gsLst>
            <a:lin ang="27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1" name="Rectangle 59"/>
          <p:cNvSpPr/>
          <p:nvPr/>
        </p:nvSpPr>
        <p:spPr bwMode="auto">
          <a:xfrm>
            <a:off x="354918" y="1724208"/>
            <a:ext cx="8316913" cy="720000"/>
          </a:xfrm>
          <a:prstGeom prst="rect">
            <a:avLst/>
          </a:prstGeom>
          <a:gradFill flip="none" rotWithShape="1">
            <a:gsLst>
              <a:gs pos="0">
                <a:srgbClr val="008C95">
                  <a:tint val="66000"/>
                  <a:satMod val="160000"/>
                </a:srgbClr>
              </a:gs>
              <a:gs pos="50000">
                <a:srgbClr val="008C95">
                  <a:tint val="44500"/>
                  <a:satMod val="160000"/>
                </a:srgbClr>
              </a:gs>
              <a:gs pos="100000">
                <a:srgbClr val="008C95">
                  <a:tint val="23500"/>
                  <a:satMod val="160000"/>
                </a:srgbClr>
              </a:gs>
            </a:gsLst>
            <a:lin ang="27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graphicFrame>
        <p:nvGraphicFramePr>
          <p:cNvPr id="17" name="Объект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20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7" name="Объект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Номер слайда 2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30" name="TextBox 29"/>
          <p:cNvSpPr txBox="1"/>
          <p:nvPr/>
        </p:nvSpPr>
        <p:spPr>
          <a:xfrm>
            <a:off x="373475" y="346216"/>
            <a:ext cx="8288457" cy="3539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fontAlgn="base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37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875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14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752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pPr marL="0" marR="0" lvl="0" indent="0" defTabSz="77889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Зачем нужны стандарты?</a:t>
            </a:r>
            <a:endParaRPr kumimoji="0" lang="ru-RU" sz="2000" b="1" i="0" u="none" strike="noStrike" kern="0" cap="none" spc="0" normalizeH="0" baseline="0" noProof="0" dirty="0">
              <a:ln>
                <a:noFill/>
              </a:ln>
              <a:solidFill>
                <a:srgbClr val="008C95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35" name="Rectangle 59"/>
          <p:cNvSpPr/>
          <p:nvPr/>
        </p:nvSpPr>
        <p:spPr bwMode="auto">
          <a:xfrm>
            <a:off x="361951" y="2444208"/>
            <a:ext cx="8316913" cy="720000"/>
          </a:xfrm>
          <a:prstGeom prst="rect">
            <a:avLst/>
          </a:prstGeom>
          <a:gradFill flip="none" rotWithShape="1">
            <a:gsLst>
              <a:gs pos="0">
                <a:srgbClr val="003D4C">
                  <a:tint val="66000"/>
                  <a:satMod val="160000"/>
                </a:srgbClr>
              </a:gs>
              <a:gs pos="50000">
                <a:srgbClr val="003D4C">
                  <a:tint val="44500"/>
                  <a:satMod val="160000"/>
                </a:srgbClr>
              </a:gs>
              <a:gs pos="100000">
                <a:srgbClr val="003D4C">
                  <a:tint val="23500"/>
                  <a:satMod val="160000"/>
                </a:srgbClr>
              </a:gs>
            </a:gsLst>
            <a:lin ang="27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6" name="Rectangle 55"/>
          <p:cNvSpPr/>
          <p:nvPr/>
        </p:nvSpPr>
        <p:spPr bwMode="auto">
          <a:xfrm>
            <a:off x="359246" y="932208"/>
            <a:ext cx="8316913" cy="792000"/>
          </a:xfrm>
          <a:prstGeom prst="rect">
            <a:avLst/>
          </a:prstGeom>
          <a:gradFill flip="none" rotWithShape="1">
            <a:gsLst>
              <a:gs pos="0">
                <a:srgbClr val="77E2C3">
                  <a:tint val="66000"/>
                  <a:satMod val="160000"/>
                </a:srgbClr>
              </a:gs>
              <a:gs pos="50000">
                <a:srgbClr val="77E2C3">
                  <a:tint val="44500"/>
                  <a:satMod val="160000"/>
                </a:srgbClr>
              </a:gs>
              <a:gs pos="100000">
                <a:srgbClr val="77E2C3">
                  <a:tint val="23500"/>
                  <a:satMod val="160000"/>
                </a:srgbClr>
              </a:gs>
            </a:gsLst>
            <a:lin ang="27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7" name="Rectangle 11"/>
          <p:cNvSpPr/>
          <p:nvPr/>
        </p:nvSpPr>
        <p:spPr bwMode="auto">
          <a:xfrm>
            <a:off x="1250902" y="1172789"/>
            <a:ext cx="7411031" cy="31083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</a:rPr>
              <a:t>СРАВНЕНИЕ МАТЕРИАЛОВ МЕЖДУ СОБОЙ</a:t>
            </a:r>
          </a:p>
        </p:txBody>
      </p:sp>
      <p:sp>
        <p:nvSpPr>
          <p:cNvPr id="38" name="Rectangle 14"/>
          <p:cNvSpPr/>
          <p:nvPr/>
        </p:nvSpPr>
        <p:spPr bwMode="auto">
          <a:xfrm>
            <a:off x="1250900" y="2648023"/>
            <a:ext cx="7411031" cy="31083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</a:rPr>
              <a:t>УНИФИКАЦИЯ МЕТОДИК ИСПЫТАНИЙ И МЕТОДОВ РАСЧЕТОВ</a:t>
            </a:r>
          </a:p>
        </p:txBody>
      </p:sp>
      <p:sp>
        <p:nvSpPr>
          <p:cNvPr id="39" name="Rectangle 57"/>
          <p:cNvSpPr/>
          <p:nvPr/>
        </p:nvSpPr>
        <p:spPr bwMode="auto">
          <a:xfrm>
            <a:off x="1250902" y="1877898"/>
            <a:ext cx="7411031" cy="31083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</a:rPr>
              <a:t>ОБЕСПЕЧЕНИЕ БЕЗОПАСНОСТИ ПРОДУКЦИИ</a:t>
            </a:r>
          </a:p>
        </p:txBody>
      </p:sp>
      <p:sp>
        <p:nvSpPr>
          <p:cNvPr id="40" name="Rectangle 57"/>
          <p:cNvSpPr/>
          <p:nvPr/>
        </p:nvSpPr>
        <p:spPr bwMode="auto">
          <a:xfrm>
            <a:off x="1250899" y="3368023"/>
            <a:ext cx="7411031" cy="31083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</a:rPr>
              <a:t>ЕДИНСТВО ИЗМЕРЕНИЯ</a:t>
            </a:r>
          </a:p>
        </p:txBody>
      </p:sp>
    </p:spTree>
    <p:extLst>
      <p:ext uri="{BB962C8B-B14F-4D97-AF65-F5344CB8AC3E}">
        <p14:creationId xmlns:p14="http://schemas.microsoft.com/office/powerpoint/2010/main" val="4071241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Объект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522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7" name="Объект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Номер слайда 2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4</a:t>
            </a:fld>
            <a:endParaRPr lang="ru-RU" dirty="0"/>
          </a:p>
        </p:txBody>
      </p:sp>
      <p:pic>
        <p:nvPicPr>
          <p:cNvPr id="184" name="Picture 9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953" t="14444" r="27150" b="65583"/>
          <a:stretch/>
        </p:blipFill>
        <p:spPr bwMode="auto">
          <a:xfrm>
            <a:off x="6643259" y="2439520"/>
            <a:ext cx="1741451" cy="676511"/>
          </a:xfrm>
          <a:prstGeom prst="rect">
            <a:avLst/>
          </a:prstGeom>
          <a:noFill/>
          <a:ln w="9525">
            <a:solidFill>
              <a:sysClr val="window" lastClr="FFFFFF">
                <a:lumMod val="65000"/>
              </a:sys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85" name="Picture 8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286" t="17486" r="13874" b="44818"/>
          <a:stretch/>
        </p:blipFill>
        <p:spPr bwMode="auto">
          <a:xfrm>
            <a:off x="6492579" y="1890036"/>
            <a:ext cx="1471743" cy="481890"/>
          </a:xfrm>
          <a:prstGeom prst="rect">
            <a:avLst/>
          </a:prstGeom>
          <a:noFill/>
          <a:ln w="9525">
            <a:solidFill>
              <a:sysClr val="window" lastClr="FFFFFF">
                <a:lumMod val="65000"/>
              </a:sys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pSp>
        <p:nvGrpSpPr>
          <p:cNvPr id="186" name="Группа 185"/>
          <p:cNvGrpSpPr/>
          <p:nvPr/>
        </p:nvGrpSpPr>
        <p:grpSpPr>
          <a:xfrm>
            <a:off x="1987421" y="801459"/>
            <a:ext cx="4989447" cy="3325029"/>
            <a:chOff x="1953211" y="2704561"/>
            <a:chExt cx="5165118" cy="3821588"/>
          </a:xfrm>
        </p:grpSpPr>
        <p:grpSp>
          <p:nvGrpSpPr>
            <p:cNvPr id="187" name="Группа 186">
              <a:extLst>
                <a:ext uri="{FF2B5EF4-FFF2-40B4-BE49-F238E27FC236}">
                  <a16:creationId xmlns:a16="http://schemas.microsoft.com/office/drawing/2014/main" id="{515EB4B7-EE6E-41C9-B04D-3B3C93996088}"/>
                </a:ext>
              </a:extLst>
            </p:cNvPr>
            <p:cNvGrpSpPr/>
            <p:nvPr/>
          </p:nvGrpSpPr>
          <p:grpSpPr>
            <a:xfrm>
              <a:off x="1953211" y="5403406"/>
              <a:ext cx="4461812" cy="1122743"/>
              <a:chOff x="1919464" y="4396683"/>
              <a:chExt cx="5350069" cy="1346259"/>
            </a:xfrm>
          </p:grpSpPr>
          <p:sp>
            <p:nvSpPr>
              <p:cNvPr id="199" name="Овал 198">
                <a:extLst>
                  <a:ext uri="{FF2B5EF4-FFF2-40B4-BE49-F238E27FC236}">
                    <a16:creationId xmlns:a16="http://schemas.microsoft.com/office/drawing/2014/main" id="{995D43F3-9413-478A-97DB-25CBDAD2722D}"/>
                  </a:ext>
                </a:extLst>
              </p:cNvPr>
              <p:cNvSpPr/>
              <p:nvPr/>
            </p:nvSpPr>
            <p:spPr bwMode="auto">
              <a:xfrm>
                <a:off x="1919464" y="5077164"/>
                <a:ext cx="3790389" cy="665778"/>
              </a:xfrm>
              <a:prstGeom prst="ellipse">
                <a:avLst/>
              </a:prstGeom>
              <a:solidFill>
                <a:sysClr val="windowText" lastClr="000000">
                  <a:lumMod val="65000"/>
                  <a:lumOff val="35000"/>
                </a:sys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softEdge rad="279400"/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778897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200" name="Группа 199">
                <a:extLst>
                  <a:ext uri="{FF2B5EF4-FFF2-40B4-BE49-F238E27FC236}">
                    <a16:creationId xmlns:a16="http://schemas.microsoft.com/office/drawing/2014/main" id="{4DE0C7C0-CD83-42F6-A474-E456005DBA05}"/>
                  </a:ext>
                </a:extLst>
              </p:cNvPr>
              <p:cNvGrpSpPr/>
              <p:nvPr/>
            </p:nvGrpSpPr>
            <p:grpSpPr>
              <a:xfrm>
                <a:off x="2643212" y="4396683"/>
                <a:ext cx="4626321" cy="1077362"/>
                <a:chOff x="3223885" y="2227152"/>
                <a:chExt cx="4626321" cy="1077362"/>
              </a:xfrm>
            </p:grpSpPr>
            <p:sp>
              <p:nvSpPr>
                <p:cNvPr id="201" name="Стрелка: шеврон 31">
                  <a:extLst>
                    <a:ext uri="{FF2B5EF4-FFF2-40B4-BE49-F238E27FC236}">
                      <a16:creationId xmlns:a16="http://schemas.microsoft.com/office/drawing/2014/main" id="{5371A1D0-82D1-4B23-B3A9-04491B74C60F}"/>
                    </a:ext>
                  </a:extLst>
                </p:cNvPr>
                <p:cNvSpPr/>
                <p:nvPr/>
              </p:nvSpPr>
              <p:spPr bwMode="auto">
                <a:xfrm flipH="1">
                  <a:off x="3223885" y="2227152"/>
                  <a:ext cx="4626321" cy="1077362"/>
                </a:xfrm>
                <a:prstGeom prst="chevron">
                  <a:avLst>
                    <a:gd name="adj" fmla="val 26471"/>
                  </a:avLst>
                </a:prstGeom>
                <a:solidFill>
                  <a:srgbClr val="008C95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778897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2" name="TextBox 201">
                  <a:extLst>
                    <a:ext uri="{FF2B5EF4-FFF2-40B4-BE49-F238E27FC236}">
                      <a16:creationId xmlns:a16="http://schemas.microsoft.com/office/drawing/2014/main" id="{E6796734-EA08-4177-85FB-83215D12AEBF}"/>
                    </a:ext>
                  </a:extLst>
                </p:cNvPr>
                <p:cNvSpPr txBox="1"/>
                <p:nvPr/>
              </p:nvSpPr>
              <p:spPr>
                <a:xfrm>
                  <a:off x="3369992" y="2480187"/>
                  <a:ext cx="1797816" cy="56032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1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rPr>
                    <a:t>СТАНДАРТЫ ОРГАНИЗАЦИИ</a:t>
                  </a:r>
                </a:p>
              </p:txBody>
            </p:sp>
          </p:grpSp>
        </p:grpSp>
        <p:grpSp>
          <p:nvGrpSpPr>
            <p:cNvPr id="188" name="Группа 187">
              <a:extLst>
                <a:ext uri="{FF2B5EF4-FFF2-40B4-BE49-F238E27FC236}">
                  <a16:creationId xmlns:a16="http://schemas.microsoft.com/office/drawing/2014/main" id="{FAFD36AB-0B3B-48D8-BB2B-8F74CB004035}"/>
                </a:ext>
              </a:extLst>
            </p:cNvPr>
            <p:cNvGrpSpPr/>
            <p:nvPr/>
          </p:nvGrpSpPr>
          <p:grpSpPr>
            <a:xfrm>
              <a:off x="2914743" y="4511055"/>
              <a:ext cx="4203586" cy="1145638"/>
              <a:chOff x="3072421" y="3326683"/>
              <a:chExt cx="5040433" cy="1373711"/>
            </a:xfrm>
          </p:grpSpPr>
          <p:sp>
            <p:nvSpPr>
              <p:cNvPr id="195" name="Овал 194">
                <a:extLst>
                  <a:ext uri="{FF2B5EF4-FFF2-40B4-BE49-F238E27FC236}">
                    <a16:creationId xmlns:a16="http://schemas.microsoft.com/office/drawing/2014/main" id="{9E020EBD-0799-4EB0-B6C7-50801EE97182}"/>
                  </a:ext>
                </a:extLst>
              </p:cNvPr>
              <p:cNvSpPr/>
              <p:nvPr/>
            </p:nvSpPr>
            <p:spPr bwMode="auto">
              <a:xfrm>
                <a:off x="4322465" y="4034616"/>
                <a:ext cx="3790389" cy="665778"/>
              </a:xfrm>
              <a:prstGeom prst="ellipse">
                <a:avLst/>
              </a:prstGeom>
              <a:solidFill>
                <a:sysClr val="windowText" lastClr="000000">
                  <a:lumMod val="65000"/>
                  <a:lumOff val="35000"/>
                </a:sys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softEdge rad="279400"/>
              </a:effectLst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778897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196" name="Группа 195">
                <a:extLst>
                  <a:ext uri="{FF2B5EF4-FFF2-40B4-BE49-F238E27FC236}">
                    <a16:creationId xmlns:a16="http://schemas.microsoft.com/office/drawing/2014/main" id="{2806DFA6-F683-4662-904A-47AE90CE80F9}"/>
                  </a:ext>
                </a:extLst>
              </p:cNvPr>
              <p:cNvGrpSpPr/>
              <p:nvPr/>
            </p:nvGrpSpPr>
            <p:grpSpPr>
              <a:xfrm>
                <a:off x="3072421" y="3326683"/>
                <a:ext cx="4626321" cy="1077362"/>
                <a:chOff x="2960483" y="2227154"/>
                <a:chExt cx="4626321" cy="1077362"/>
              </a:xfrm>
            </p:grpSpPr>
            <p:sp>
              <p:nvSpPr>
                <p:cNvPr id="197" name="Стрелка: шеврон 88">
                  <a:extLst>
                    <a:ext uri="{FF2B5EF4-FFF2-40B4-BE49-F238E27FC236}">
                      <a16:creationId xmlns:a16="http://schemas.microsoft.com/office/drawing/2014/main" id="{6F5140B8-45FF-4F5C-8714-FFEB33A90A5A}"/>
                    </a:ext>
                  </a:extLst>
                </p:cNvPr>
                <p:cNvSpPr/>
                <p:nvPr/>
              </p:nvSpPr>
              <p:spPr bwMode="auto">
                <a:xfrm>
                  <a:off x="2960483" y="2227154"/>
                  <a:ext cx="4626321" cy="1077362"/>
                </a:xfrm>
                <a:prstGeom prst="chevron">
                  <a:avLst>
                    <a:gd name="adj" fmla="val 26471"/>
                  </a:avLst>
                </a:prstGeom>
                <a:solidFill>
                  <a:srgbClr val="808080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778897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8" name="TextBox 197">
                  <a:extLst>
                    <a:ext uri="{FF2B5EF4-FFF2-40B4-BE49-F238E27FC236}">
                      <a16:creationId xmlns:a16="http://schemas.microsoft.com/office/drawing/2014/main" id="{C6D8CD63-1546-4CE0-9F8B-05BCA66B81AF}"/>
                    </a:ext>
                  </a:extLst>
                </p:cNvPr>
                <p:cNvSpPr txBox="1"/>
                <p:nvPr/>
              </p:nvSpPr>
              <p:spPr>
                <a:xfrm>
                  <a:off x="5273644" y="2407835"/>
                  <a:ext cx="2126125" cy="78045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1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</a:rPr>
                    <a:t>НАЦИОНАЛЬНЫЕ / ГОСУДАРСТВЕННЫЕ СТАНДАРТЫ</a:t>
                  </a:r>
                </a:p>
              </p:txBody>
            </p:sp>
          </p:grpSp>
        </p:grpSp>
        <p:grpSp>
          <p:nvGrpSpPr>
            <p:cNvPr id="189" name="Группа 188">
              <a:extLst>
                <a:ext uri="{FF2B5EF4-FFF2-40B4-BE49-F238E27FC236}">
                  <a16:creationId xmlns:a16="http://schemas.microsoft.com/office/drawing/2014/main" id="{32AAB505-1F43-4405-B828-2C492F870142}"/>
                </a:ext>
              </a:extLst>
            </p:cNvPr>
            <p:cNvGrpSpPr/>
            <p:nvPr/>
          </p:nvGrpSpPr>
          <p:grpSpPr>
            <a:xfrm>
              <a:off x="2556797" y="3603054"/>
              <a:ext cx="3858228" cy="908001"/>
              <a:chOff x="3223887" y="2227152"/>
              <a:chExt cx="4626322" cy="1088765"/>
            </a:xfrm>
          </p:grpSpPr>
          <p:sp>
            <p:nvSpPr>
              <p:cNvPr id="193" name="Стрелка: шеврон 112">
                <a:extLst>
                  <a:ext uri="{FF2B5EF4-FFF2-40B4-BE49-F238E27FC236}">
                    <a16:creationId xmlns:a16="http://schemas.microsoft.com/office/drawing/2014/main" id="{2E6801F8-688D-46AE-9D45-F4351C2A2A20}"/>
                  </a:ext>
                </a:extLst>
              </p:cNvPr>
              <p:cNvSpPr/>
              <p:nvPr/>
            </p:nvSpPr>
            <p:spPr bwMode="auto">
              <a:xfrm flipH="1">
                <a:off x="3223887" y="2227152"/>
                <a:ext cx="4626322" cy="1088765"/>
              </a:xfrm>
              <a:prstGeom prst="chevron">
                <a:avLst>
                  <a:gd name="adj" fmla="val 26471"/>
                </a:avLst>
              </a:prstGeom>
              <a:solidFill>
                <a:srgbClr val="99CC0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778897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4" name="TextBox 193">
                <a:extLst>
                  <a:ext uri="{FF2B5EF4-FFF2-40B4-BE49-F238E27FC236}">
                    <a16:creationId xmlns:a16="http://schemas.microsoft.com/office/drawing/2014/main" id="{7DEC1BD0-BC2D-4337-8B41-3E5452A2BFF8}"/>
                  </a:ext>
                </a:extLst>
              </p:cNvPr>
              <p:cNvSpPr txBox="1"/>
              <p:nvPr/>
            </p:nvSpPr>
            <p:spPr>
              <a:xfrm>
                <a:off x="3445234" y="2389158"/>
                <a:ext cx="2608190" cy="8271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77889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МЕЖГОСУДАРСТВЕННЫЕ / РЕГИОНАЛЬНЫЕ СТАНДАРТЫ</a:t>
                </a:r>
              </a:p>
            </p:txBody>
          </p:sp>
        </p:grpSp>
        <p:grpSp>
          <p:nvGrpSpPr>
            <p:cNvPr id="190" name="Группа 189">
              <a:extLst>
                <a:ext uri="{FF2B5EF4-FFF2-40B4-BE49-F238E27FC236}">
                  <a16:creationId xmlns:a16="http://schemas.microsoft.com/office/drawing/2014/main" id="{B974F4BA-6680-4345-8F4D-F8B680047ABC}"/>
                </a:ext>
              </a:extLst>
            </p:cNvPr>
            <p:cNvGrpSpPr/>
            <p:nvPr/>
          </p:nvGrpSpPr>
          <p:grpSpPr>
            <a:xfrm>
              <a:off x="2914743" y="2704561"/>
              <a:ext cx="3858231" cy="898492"/>
              <a:chOff x="2960483" y="2227152"/>
              <a:chExt cx="4626321" cy="1077362"/>
            </a:xfrm>
          </p:grpSpPr>
          <p:sp>
            <p:nvSpPr>
              <p:cNvPr id="191" name="Стрелка: шеврон 122">
                <a:extLst>
                  <a:ext uri="{FF2B5EF4-FFF2-40B4-BE49-F238E27FC236}">
                    <a16:creationId xmlns:a16="http://schemas.microsoft.com/office/drawing/2014/main" id="{50EB3A8A-B7A0-4871-8F2E-C108634491D5}"/>
                  </a:ext>
                </a:extLst>
              </p:cNvPr>
              <p:cNvSpPr/>
              <p:nvPr/>
            </p:nvSpPr>
            <p:spPr bwMode="auto">
              <a:xfrm>
                <a:off x="2960483" y="2227152"/>
                <a:ext cx="4626321" cy="1077362"/>
              </a:xfrm>
              <a:prstGeom prst="chevron">
                <a:avLst>
                  <a:gd name="adj" fmla="val 26471"/>
                </a:avLst>
              </a:prstGeom>
              <a:solidFill>
                <a:srgbClr val="B2D2D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778897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2" name="TextBox 191">
                <a:extLst>
                  <a:ext uri="{FF2B5EF4-FFF2-40B4-BE49-F238E27FC236}">
                    <a16:creationId xmlns:a16="http://schemas.microsoft.com/office/drawing/2014/main" id="{9ED31CD2-67D6-4E6A-91A8-16616501404A}"/>
                  </a:ext>
                </a:extLst>
              </p:cNvPr>
              <p:cNvSpPr txBox="1"/>
              <p:nvPr/>
            </p:nvSpPr>
            <p:spPr>
              <a:xfrm>
                <a:off x="5460695" y="2485671"/>
                <a:ext cx="1956558" cy="5938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77889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МЕЖДУНАРОДНЫЕ СТАНДАРТЫ</a:t>
                </a:r>
              </a:p>
            </p:txBody>
          </p:sp>
        </p:grpSp>
      </p:grpSp>
      <p:pic>
        <p:nvPicPr>
          <p:cNvPr id="203" name="Picture 7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700" t="12995" r="3266" b="7530"/>
          <a:stretch/>
        </p:blipFill>
        <p:spPr bwMode="auto">
          <a:xfrm>
            <a:off x="6752316" y="754699"/>
            <a:ext cx="1182793" cy="875265"/>
          </a:xfrm>
          <a:prstGeom prst="rect">
            <a:avLst/>
          </a:prstGeom>
          <a:noFill/>
          <a:ln w="9525">
            <a:solidFill>
              <a:sysClr val="window" lastClr="FFFFFF">
                <a:lumMod val="65000"/>
              </a:sys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04" name="Picture 2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284"/>
          <a:stretch/>
        </p:blipFill>
        <p:spPr bwMode="auto">
          <a:xfrm>
            <a:off x="6907099" y="999311"/>
            <a:ext cx="436613" cy="3952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" name="Picture 5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932" t="12857" r="16473" b="53418"/>
          <a:stretch/>
        </p:blipFill>
        <p:spPr bwMode="auto">
          <a:xfrm>
            <a:off x="1233763" y="1419930"/>
            <a:ext cx="1283197" cy="808345"/>
          </a:xfrm>
          <a:prstGeom prst="rect">
            <a:avLst/>
          </a:prstGeom>
          <a:noFill/>
          <a:ln w="9525">
            <a:solidFill>
              <a:sysClr val="window" lastClr="FFFFFF">
                <a:lumMod val="65000"/>
              </a:sys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06" name="Picture 2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2513" y="2012156"/>
            <a:ext cx="1341938" cy="732318"/>
          </a:xfrm>
          <a:prstGeom prst="rect">
            <a:avLst/>
          </a:prstGeom>
          <a:noFill/>
          <a:ln w="9525">
            <a:solidFill>
              <a:sysClr val="window" lastClr="FFFFFF">
                <a:lumMod val="65000"/>
              </a:sys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pSp>
        <p:nvGrpSpPr>
          <p:cNvPr id="207" name="Group 2"/>
          <p:cNvGrpSpPr/>
          <p:nvPr/>
        </p:nvGrpSpPr>
        <p:grpSpPr>
          <a:xfrm>
            <a:off x="3276699" y="898766"/>
            <a:ext cx="629355" cy="587131"/>
            <a:chOff x="5148064" y="1570120"/>
            <a:chExt cx="1017797" cy="965061"/>
          </a:xfrm>
          <a:solidFill>
            <a:srgbClr val="008080"/>
          </a:solidFill>
        </p:grpSpPr>
        <p:sp>
          <p:nvSpPr>
            <p:cNvPr id="208" name="Oval 310"/>
            <p:cNvSpPr>
              <a:spLocks noChangeArrowheads="1"/>
            </p:cNvSpPr>
            <p:nvPr/>
          </p:nvSpPr>
          <p:spPr bwMode="auto">
            <a:xfrm>
              <a:off x="5854721" y="2166032"/>
              <a:ext cx="116018" cy="137112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77889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09" name="Oval 311"/>
            <p:cNvSpPr>
              <a:spLocks noChangeArrowheads="1"/>
            </p:cNvSpPr>
            <p:nvPr/>
          </p:nvSpPr>
          <p:spPr bwMode="auto">
            <a:xfrm>
              <a:off x="5401195" y="2129117"/>
              <a:ext cx="147660" cy="174027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77889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10" name="Oval 312"/>
            <p:cNvSpPr>
              <a:spLocks noChangeArrowheads="1"/>
            </p:cNvSpPr>
            <p:nvPr/>
          </p:nvSpPr>
          <p:spPr bwMode="auto">
            <a:xfrm>
              <a:off x="5596316" y="2097476"/>
              <a:ext cx="179301" cy="205669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77889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11" name="Freeform 313"/>
            <p:cNvSpPr>
              <a:spLocks noEditPoints="1"/>
            </p:cNvSpPr>
            <p:nvPr/>
          </p:nvSpPr>
          <p:spPr bwMode="auto">
            <a:xfrm>
              <a:off x="5496119" y="2313692"/>
              <a:ext cx="379696" cy="221489"/>
            </a:xfrm>
            <a:custGeom>
              <a:avLst/>
              <a:gdLst>
                <a:gd name="T0" fmla="*/ 71 w 72"/>
                <a:gd name="T1" fmla="*/ 29 h 42"/>
                <a:gd name="T2" fmla="*/ 70 w 72"/>
                <a:gd name="T3" fmla="*/ 12 h 42"/>
                <a:gd name="T4" fmla="*/ 60 w 72"/>
                <a:gd name="T5" fmla="*/ 1 h 42"/>
                <a:gd name="T6" fmla="*/ 51 w 72"/>
                <a:gd name="T7" fmla="*/ 0 h 42"/>
                <a:gd name="T8" fmla="*/ 51 w 72"/>
                <a:gd name="T9" fmla="*/ 0 h 42"/>
                <a:gd name="T10" fmla="*/ 50 w 72"/>
                <a:gd name="T11" fmla="*/ 0 h 42"/>
                <a:gd name="T12" fmla="*/ 50 w 72"/>
                <a:gd name="T13" fmla="*/ 0 h 42"/>
                <a:gd name="T14" fmla="*/ 57 w 72"/>
                <a:gd name="T15" fmla="*/ 6 h 42"/>
                <a:gd name="T16" fmla="*/ 49 w 72"/>
                <a:gd name="T17" fmla="*/ 10 h 42"/>
                <a:gd name="T18" fmla="*/ 53 w 72"/>
                <a:gd name="T19" fmla="*/ 17 h 42"/>
                <a:gd name="T20" fmla="*/ 42 w 72"/>
                <a:gd name="T21" fmla="*/ 40 h 42"/>
                <a:gd name="T22" fmla="*/ 41 w 72"/>
                <a:gd name="T23" fmla="*/ 40 h 42"/>
                <a:gd name="T24" fmla="*/ 40 w 72"/>
                <a:gd name="T25" fmla="*/ 8 h 42"/>
                <a:gd name="T26" fmla="*/ 41 w 72"/>
                <a:gd name="T27" fmla="*/ 7 h 42"/>
                <a:gd name="T28" fmla="*/ 39 w 72"/>
                <a:gd name="T29" fmla="*/ 0 h 42"/>
                <a:gd name="T30" fmla="*/ 32 w 72"/>
                <a:gd name="T31" fmla="*/ 0 h 42"/>
                <a:gd name="T32" fmla="*/ 30 w 72"/>
                <a:gd name="T33" fmla="*/ 7 h 42"/>
                <a:gd name="T34" fmla="*/ 32 w 72"/>
                <a:gd name="T35" fmla="*/ 8 h 42"/>
                <a:gd name="T36" fmla="*/ 30 w 72"/>
                <a:gd name="T37" fmla="*/ 41 h 42"/>
                <a:gd name="T38" fmla="*/ 30 w 72"/>
                <a:gd name="T39" fmla="*/ 41 h 42"/>
                <a:gd name="T40" fmla="*/ 30 w 72"/>
                <a:gd name="T41" fmla="*/ 41 h 42"/>
                <a:gd name="T42" fmla="*/ 19 w 72"/>
                <a:gd name="T43" fmla="*/ 17 h 42"/>
                <a:gd name="T44" fmla="*/ 23 w 72"/>
                <a:gd name="T45" fmla="*/ 10 h 42"/>
                <a:gd name="T46" fmla="*/ 14 w 72"/>
                <a:gd name="T47" fmla="*/ 6 h 42"/>
                <a:gd name="T48" fmla="*/ 21 w 72"/>
                <a:gd name="T49" fmla="*/ 0 h 42"/>
                <a:gd name="T50" fmla="*/ 21 w 72"/>
                <a:gd name="T51" fmla="*/ 0 h 42"/>
                <a:gd name="T52" fmla="*/ 20 w 72"/>
                <a:gd name="T53" fmla="*/ 0 h 42"/>
                <a:gd name="T54" fmla="*/ 20 w 72"/>
                <a:gd name="T55" fmla="*/ 0 h 42"/>
                <a:gd name="T56" fmla="*/ 12 w 72"/>
                <a:gd name="T57" fmla="*/ 1 h 42"/>
                <a:gd name="T58" fmla="*/ 12 w 72"/>
                <a:gd name="T59" fmla="*/ 1 h 42"/>
                <a:gd name="T60" fmla="*/ 2 w 72"/>
                <a:gd name="T61" fmla="*/ 12 h 42"/>
                <a:gd name="T62" fmla="*/ 1 w 72"/>
                <a:gd name="T63" fmla="*/ 30 h 42"/>
                <a:gd name="T64" fmla="*/ 0 w 72"/>
                <a:gd name="T65" fmla="*/ 35 h 42"/>
                <a:gd name="T66" fmla="*/ 36 w 72"/>
                <a:gd name="T67" fmla="*/ 42 h 42"/>
                <a:gd name="T68" fmla="*/ 72 w 72"/>
                <a:gd name="T69" fmla="*/ 35 h 42"/>
                <a:gd name="T70" fmla="*/ 72 w 72"/>
                <a:gd name="T71" fmla="*/ 32 h 42"/>
                <a:gd name="T72" fmla="*/ 71 w 72"/>
                <a:gd name="T73" fmla="*/ 29 h 42"/>
                <a:gd name="T74" fmla="*/ 34 w 72"/>
                <a:gd name="T75" fmla="*/ 42 h 42"/>
                <a:gd name="T76" fmla="*/ 35 w 72"/>
                <a:gd name="T77" fmla="*/ 42 h 42"/>
                <a:gd name="T78" fmla="*/ 35 w 72"/>
                <a:gd name="T79" fmla="*/ 42 h 42"/>
                <a:gd name="T80" fmla="*/ 34 w 72"/>
                <a:gd name="T81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2" h="42">
                  <a:moveTo>
                    <a:pt x="71" y="29"/>
                  </a:moveTo>
                  <a:cubicBezTo>
                    <a:pt x="70" y="12"/>
                    <a:pt x="70" y="12"/>
                    <a:pt x="70" y="12"/>
                  </a:cubicBezTo>
                  <a:cubicBezTo>
                    <a:pt x="70" y="6"/>
                    <a:pt x="65" y="2"/>
                    <a:pt x="60" y="1"/>
                  </a:cubicBezTo>
                  <a:cubicBezTo>
                    <a:pt x="60" y="1"/>
                    <a:pt x="55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0"/>
                    <a:pt x="50" y="0"/>
                    <a:pt x="50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7" y="6"/>
                    <a:pt x="57" y="6"/>
                    <a:pt x="57" y="6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53" y="17"/>
                    <a:pt x="53" y="17"/>
                    <a:pt x="53" y="17"/>
                  </a:cubicBezTo>
                  <a:cubicBezTo>
                    <a:pt x="42" y="40"/>
                    <a:pt x="42" y="40"/>
                    <a:pt x="42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7" y="0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7" y="2"/>
                    <a:pt x="2" y="6"/>
                    <a:pt x="2" y="12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1" y="40"/>
                    <a:pt x="23" y="42"/>
                    <a:pt x="36" y="42"/>
                  </a:cubicBezTo>
                  <a:cubicBezTo>
                    <a:pt x="49" y="42"/>
                    <a:pt x="61" y="40"/>
                    <a:pt x="72" y="35"/>
                  </a:cubicBezTo>
                  <a:cubicBezTo>
                    <a:pt x="72" y="32"/>
                    <a:pt x="72" y="32"/>
                    <a:pt x="72" y="32"/>
                  </a:cubicBezTo>
                  <a:lnTo>
                    <a:pt x="71" y="29"/>
                  </a:lnTo>
                  <a:close/>
                  <a:moveTo>
                    <a:pt x="34" y="42"/>
                  </a:moveTo>
                  <a:cubicBezTo>
                    <a:pt x="35" y="42"/>
                    <a:pt x="35" y="42"/>
                    <a:pt x="35" y="42"/>
                  </a:cubicBezTo>
                  <a:cubicBezTo>
                    <a:pt x="35" y="42"/>
                    <a:pt x="35" y="42"/>
                    <a:pt x="35" y="42"/>
                  </a:cubicBezTo>
                  <a:cubicBezTo>
                    <a:pt x="35" y="42"/>
                    <a:pt x="35" y="42"/>
                    <a:pt x="34" y="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77889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12" name="Freeform 314"/>
            <p:cNvSpPr>
              <a:spLocks noEditPoints="1"/>
            </p:cNvSpPr>
            <p:nvPr/>
          </p:nvSpPr>
          <p:spPr bwMode="auto">
            <a:xfrm>
              <a:off x="5417015" y="1754695"/>
              <a:ext cx="184575" cy="184575"/>
            </a:xfrm>
            <a:custGeom>
              <a:avLst/>
              <a:gdLst>
                <a:gd name="T0" fmla="*/ 18 w 35"/>
                <a:gd name="T1" fmla="*/ 35 h 35"/>
                <a:gd name="T2" fmla="*/ 0 w 35"/>
                <a:gd name="T3" fmla="*/ 17 h 35"/>
                <a:gd name="T4" fmla="*/ 18 w 35"/>
                <a:gd name="T5" fmla="*/ 0 h 35"/>
                <a:gd name="T6" fmla="*/ 35 w 35"/>
                <a:gd name="T7" fmla="*/ 17 h 35"/>
                <a:gd name="T8" fmla="*/ 18 w 35"/>
                <a:gd name="T9" fmla="*/ 35 h 35"/>
                <a:gd name="T10" fmla="*/ 18 w 35"/>
                <a:gd name="T11" fmla="*/ 8 h 35"/>
                <a:gd name="T12" fmla="*/ 9 w 35"/>
                <a:gd name="T13" fmla="*/ 17 h 35"/>
                <a:gd name="T14" fmla="*/ 18 w 35"/>
                <a:gd name="T15" fmla="*/ 26 h 35"/>
                <a:gd name="T16" fmla="*/ 27 w 35"/>
                <a:gd name="T17" fmla="*/ 17 h 35"/>
                <a:gd name="T18" fmla="*/ 18 w 35"/>
                <a:gd name="T19" fmla="*/ 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35">
                  <a:moveTo>
                    <a:pt x="18" y="35"/>
                  </a:moveTo>
                  <a:cubicBezTo>
                    <a:pt x="8" y="35"/>
                    <a:pt x="0" y="2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5" y="8"/>
                    <a:pt x="35" y="17"/>
                  </a:cubicBezTo>
                  <a:cubicBezTo>
                    <a:pt x="35" y="27"/>
                    <a:pt x="28" y="35"/>
                    <a:pt x="18" y="35"/>
                  </a:cubicBezTo>
                  <a:close/>
                  <a:moveTo>
                    <a:pt x="18" y="8"/>
                  </a:moveTo>
                  <a:cubicBezTo>
                    <a:pt x="13" y="8"/>
                    <a:pt x="9" y="12"/>
                    <a:pt x="9" y="17"/>
                  </a:cubicBezTo>
                  <a:cubicBezTo>
                    <a:pt x="9" y="22"/>
                    <a:pt x="13" y="26"/>
                    <a:pt x="18" y="26"/>
                  </a:cubicBezTo>
                  <a:cubicBezTo>
                    <a:pt x="23" y="26"/>
                    <a:pt x="27" y="22"/>
                    <a:pt x="27" y="17"/>
                  </a:cubicBezTo>
                  <a:cubicBezTo>
                    <a:pt x="27" y="12"/>
                    <a:pt x="23" y="8"/>
                    <a:pt x="18" y="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77889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13" name="Freeform 315"/>
            <p:cNvSpPr>
              <a:spLocks noEditPoints="1"/>
            </p:cNvSpPr>
            <p:nvPr/>
          </p:nvSpPr>
          <p:spPr bwMode="auto">
            <a:xfrm>
              <a:off x="5981286" y="1701959"/>
              <a:ext cx="184575" cy="184575"/>
            </a:xfrm>
            <a:custGeom>
              <a:avLst/>
              <a:gdLst>
                <a:gd name="T0" fmla="*/ 17 w 35"/>
                <a:gd name="T1" fmla="*/ 35 h 35"/>
                <a:gd name="T2" fmla="*/ 0 w 35"/>
                <a:gd name="T3" fmla="*/ 17 h 35"/>
                <a:gd name="T4" fmla="*/ 17 w 35"/>
                <a:gd name="T5" fmla="*/ 0 h 35"/>
                <a:gd name="T6" fmla="*/ 35 w 35"/>
                <a:gd name="T7" fmla="*/ 17 h 35"/>
                <a:gd name="T8" fmla="*/ 17 w 35"/>
                <a:gd name="T9" fmla="*/ 35 h 35"/>
                <a:gd name="T10" fmla="*/ 17 w 35"/>
                <a:gd name="T11" fmla="*/ 8 h 35"/>
                <a:gd name="T12" fmla="*/ 8 w 35"/>
                <a:gd name="T13" fmla="*/ 17 h 35"/>
                <a:gd name="T14" fmla="*/ 17 w 35"/>
                <a:gd name="T15" fmla="*/ 26 h 35"/>
                <a:gd name="T16" fmla="*/ 26 w 35"/>
                <a:gd name="T17" fmla="*/ 17 h 35"/>
                <a:gd name="T18" fmla="*/ 17 w 35"/>
                <a:gd name="T19" fmla="*/ 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35">
                  <a:moveTo>
                    <a:pt x="17" y="35"/>
                  </a:moveTo>
                  <a:cubicBezTo>
                    <a:pt x="8" y="35"/>
                    <a:pt x="0" y="2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7"/>
                    <a:pt x="27" y="35"/>
                    <a:pt x="17" y="35"/>
                  </a:cubicBezTo>
                  <a:close/>
                  <a:moveTo>
                    <a:pt x="17" y="8"/>
                  </a:moveTo>
                  <a:cubicBezTo>
                    <a:pt x="12" y="8"/>
                    <a:pt x="8" y="12"/>
                    <a:pt x="8" y="17"/>
                  </a:cubicBezTo>
                  <a:cubicBezTo>
                    <a:pt x="8" y="22"/>
                    <a:pt x="12" y="26"/>
                    <a:pt x="17" y="26"/>
                  </a:cubicBezTo>
                  <a:cubicBezTo>
                    <a:pt x="22" y="26"/>
                    <a:pt x="26" y="22"/>
                    <a:pt x="26" y="17"/>
                  </a:cubicBezTo>
                  <a:cubicBezTo>
                    <a:pt x="26" y="12"/>
                    <a:pt x="22" y="8"/>
                    <a:pt x="17" y="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77889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14" name="Freeform 316"/>
            <p:cNvSpPr>
              <a:spLocks noEditPoints="1"/>
            </p:cNvSpPr>
            <p:nvPr/>
          </p:nvSpPr>
          <p:spPr bwMode="auto">
            <a:xfrm>
              <a:off x="5148064" y="1949816"/>
              <a:ext cx="184575" cy="189848"/>
            </a:xfrm>
            <a:custGeom>
              <a:avLst/>
              <a:gdLst>
                <a:gd name="T0" fmla="*/ 18 w 35"/>
                <a:gd name="T1" fmla="*/ 36 h 36"/>
                <a:gd name="T2" fmla="*/ 0 w 35"/>
                <a:gd name="T3" fmla="*/ 18 h 36"/>
                <a:gd name="T4" fmla="*/ 18 w 35"/>
                <a:gd name="T5" fmla="*/ 0 h 36"/>
                <a:gd name="T6" fmla="*/ 35 w 35"/>
                <a:gd name="T7" fmla="*/ 18 h 36"/>
                <a:gd name="T8" fmla="*/ 18 w 35"/>
                <a:gd name="T9" fmla="*/ 36 h 36"/>
                <a:gd name="T10" fmla="*/ 18 w 35"/>
                <a:gd name="T11" fmla="*/ 9 h 36"/>
                <a:gd name="T12" fmla="*/ 9 w 35"/>
                <a:gd name="T13" fmla="*/ 18 h 36"/>
                <a:gd name="T14" fmla="*/ 18 w 35"/>
                <a:gd name="T15" fmla="*/ 27 h 36"/>
                <a:gd name="T16" fmla="*/ 27 w 35"/>
                <a:gd name="T17" fmla="*/ 18 h 36"/>
                <a:gd name="T18" fmla="*/ 18 w 35"/>
                <a:gd name="T19" fmla="*/ 9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5" y="8"/>
                    <a:pt x="35" y="18"/>
                  </a:cubicBezTo>
                  <a:cubicBezTo>
                    <a:pt x="35" y="28"/>
                    <a:pt x="28" y="36"/>
                    <a:pt x="18" y="36"/>
                  </a:cubicBezTo>
                  <a:close/>
                  <a:moveTo>
                    <a:pt x="18" y="9"/>
                  </a:moveTo>
                  <a:cubicBezTo>
                    <a:pt x="13" y="9"/>
                    <a:pt x="9" y="13"/>
                    <a:pt x="9" y="18"/>
                  </a:cubicBezTo>
                  <a:cubicBezTo>
                    <a:pt x="9" y="23"/>
                    <a:pt x="13" y="27"/>
                    <a:pt x="18" y="27"/>
                  </a:cubicBezTo>
                  <a:cubicBezTo>
                    <a:pt x="23" y="27"/>
                    <a:pt x="27" y="23"/>
                    <a:pt x="27" y="18"/>
                  </a:cubicBezTo>
                  <a:cubicBezTo>
                    <a:pt x="27" y="13"/>
                    <a:pt x="23" y="9"/>
                    <a:pt x="18" y="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77889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15" name="Freeform 317"/>
            <p:cNvSpPr>
              <a:spLocks/>
            </p:cNvSpPr>
            <p:nvPr/>
          </p:nvSpPr>
          <p:spPr bwMode="auto">
            <a:xfrm>
              <a:off x="5300997" y="1907628"/>
              <a:ext cx="511535" cy="174027"/>
            </a:xfrm>
            <a:custGeom>
              <a:avLst/>
              <a:gdLst>
                <a:gd name="T0" fmla="*/ 97 w 97"/>
                <a:gd name="T1" fmla="*/ 33 h 33"/>
                <a:gd name="T2" fmla="*/ 95 w 97"/>
                <a:gd name="T3" fmla="*/ 26 h 33"/>
                <a:gd name="T4" fmla="*/ 96 w 97"/>
                <a:gd name="T5" fmla="*/ 22 h 33"/>
                <a:gd name="T6" fmla="*/ 43 w 97"/>
                <a:gd name="T7" fmla="*/ 22 h 33"/>
                <a:gd name="T8" fmla="*/ 45 w 97"/>
                <a:gd name="T9" fmla="*/ 1 h 33"/>
                <a:gd name="T10" fmla="*/ 40 w 97"/>
                <a:gd name="T11" fmla="*/ 2 h 33"/>
                <a:gd name="T12" fmla="*/ 34 w 97"/>
                <a:gd name="T13" fmla="*/ 0 h 33"/>
                <a:gd name="T14" fmla="*/ 32 w 97"/>
                <a:gd name="T15" fmla="*/ 22 h 33"/>
                <a:gd name="T16" fmla="*/ 2 w 97"/>
                <a:gd name="T17" fmla="*/ 22 h 33"/>
                <a:gd name="T18" fmla="*/ 2 w 97"/>
                <a:gd name="T19" fmla="*/ 26 h 33"/>
                <a:gd name="T20" fmla="*/ 0 w 97"/>
                <a:gd name="T21" fmla="*/ 33 h 33"/>
                <a:gd name="T22" fmla="*/ 97 w 97"/>
                <a:gd name="T23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7" h="33">
                  <a:moveTo>
                    <a:pt x="97" y="33"/>
                  </a:moveTo>
                  <a:cubicBezTo>
                    <a:pt x="96" y="31"/>
                    <a:pt x="95" y="28"/>
                    <a:pt x="95" y="26"/>
                  </a:cubicBezTo>
                  <a:cubicBezTo>
                    <a:pt x="95" y="25"/>
                    <a:pt x="95" y="23"/>
                    <a:pt x="96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15"/>
                    <a:pt x="44" y="7"/>
                    <a:pt x="45" y="1"/>
                  </a:cubicBezTo>
                  <a:cubicBezTo>
                    <a:pt x="43" y="1"/>
                    <a:pt x="42" y="2"/>
                    <a:pt x="40" y="2"/>
                  </a:cubicBezTo>
                  <a:cubicBezTo>
                    <a:pt x="38" y="2"/>
                    <a:pt x="36" y="1"/>
                    <a:pt x="34" y="0"/>
                  </a:cubicBezTo>
                  <a:cubicBezTo>
                    <a:pt x="33" y="7"/>
                    <a:pt x="32" y="14"/>
                    <a:pt x="32" y="22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2" y="23"/>
                    <a:pt x="2" y="25"/>
                    <a:pt x="2" y="26"/>
                  </a:cubicBezTo>
                  <a:cubicBezTo>
                    <a:pt x="2" y="28"/>
                    <a:pt x="1" y="31"/>
                    <a:pt x="0" y="33"/>
                  </a:cubicBezTo>
                  <a:lnTo>
                    <a:pt x="97" y="3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77889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16" name="Freeform 318"/>
            <p:cNvSpPr>
              <a:spLocks/>
            </p:cNvSpPr>
            <p:nvPr/>
          </p:nvSpPr>
          <p:spPr bwMode="auto">
            <a:xfrm>
              <a:off x="5211347" y="1570120"/>
              <a:ext cx="833222" cy="411337"/>
            </a:xfrm>
            <a:custGeom>
              <a:avLst/>
              <a:gdLst>
                <a:gd name="T0" fmla="*/ 6 w 158"/>
                <a:gd name="T1" fmla="*/ 77 h 78"/>
                <a:gd name="T2" fmla="*/ 11 w 158"/>
                <a:gd name="T3" fmla="*/ 78 h 78"/>
                <a:gd name="T4" fmla="*/ 21 w 158"/>
                <a:gd name="T5" fmla="*/ 50 h 78"/>
                <a:gd name="T6" fmla="*/ 44 w 158"/>
                <a:gd name="T7" fmla="*/ 55 h 78"/>
                <a:gd name="T8" fmla="*/ 44 w 158"/>
                <a:gd name="T9" fmla="*/ 52 h 78"/>
                <a:gd name="T10" fmla="*/ 46 w 158"/>
                <a:gd name="T11" fmla="*/ 45 h 78"/>
                <a:gd name="T12" fmla="*/ 27 w 158"/>
                <a:gd name="T13" fmla="*/ 41 h 78"/>
                <a:gd name="T14" fmla="*/ 70 w 158"/>
                <a:gd name="T15" fmla="*/ 13 h 78"/>
                <a:gd name="T16" fmla="*/ 56 w 158"/>
                <a:gd name="T17" fmla="*/ 39 h 78"/>
                <a:gd name="T18" fmla="*/ 57 w 158"/>
                <a:gd name="T19" fmla="*/ 39 h 78"/>
                <a:gd name="T20" fmla="*/ 66 w 158"/>
                <a:gd name="T21" fmla="*/ 43 h 78"/>
                <a:gd name="T22" fmla="*/ 90 w 158"/>
                <a:gd name="T23" fmla="*/ 13 h 78"/>
                <a:gd name="T24" fmla="*/ 115 w 158"/>
                <a:gd name="T25" fmla="*/ 47 h 78"/>
                <a:gd name="T26" fmla="*/ 69 w 158"/>
                <a:gd name="T27" fmla="*/ 48 h 78"/>
                <a:gd name="T28" fmla="*/ 70 w 158"/>
                <a:gd name="T29" fmla="*/ 52 h 78"/>
                <a:gd name="T30" fmla="*/ 69 w 158"/>
                <a:gd name="T31" fmla="*/ 58 h 78"/>
                <a:gd name="T32" fmla="*/ 90 w 158"/>
                <a:gd name="T33" fmla="*/ 59 h 78"/>
                <a:gd name="T34" fmla="*/ 117 w 158"/>
                <a:gd name="T35" fmla="*/ 58 h 78"/>
                <a:gd name="T36" fmla="*/ 120 w 158"/>
                <a:gd name="T37" fmla="*/ 78 h 78"/>
                <a:gd name="T38" fmla="*/ 126 w 158"/>
                <a:gd name="T39" fmla="*/ 77 h 78"/>
                <a:gd name="T40" fmla="*/ 131 w 158"/>
                <a:gd name="T41" fmla="*/ 78 h 78"/>
                <a:gd name="T42" fmla="*/ 128 w 158"/>
                <a:gd name="T43" fmla="*/ 57 h 78"/>
                <a:gd name="T44" fmla="*/ 154 w 158"/>
                <a:gd name="T45" fmla="*/ 52 h 78"/>
                <a:gd name="T46" fmla="*/ 150 w 158"/>
                <a:gd name="T47" fmla="*/ 42 h 78"/>
                <a:gd name="T48" fmla="*/ 150 w 158"/>
                <a:gd name="T49" fmla="*/ 42 h 78"/>
                <a:gd name="T50" fmla="*/ 126 w 158"/>
                <a:gd name="T51" fmla="*/ 46 h 78"/>
                <a:gd name="T52" fmla="*/ 110 w 158"/>
                <a:gd name="T53" fmla="*/ 13 h 78"/>
                <a:gd name="T54" fmla="*/ 151 w 158"/>
                <a:gd name="T55" fmla="*/ 38 h 78"/>
                <a:gd name="T56" fmla="*/ 158 w 158"/>
                <a:gd name="T57" fmla="*/ 30 h 78"/>
                <a:gd name="T58" fmla="*/ 90 w 158"/>
                <a:gd name="T59" fmla="*/ 0 h 78"/>
                <a:gd name="T60" fmla="*/ 0 w 158"/>
                <a:gd name="T61" fmla="*/ 78 h 78"/>
                <a:gd name="T62" fmla="*/ 6 w 158"/>
                <a:gd name="T63" fmla="*/ 77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8" h="78">
                  <a:moveTo>
                    <a:pt x="6" y="77"/>
                  </a:moveTo>
                  <a:cubicBezTo>
                    <a:pt x="8" y="77"/>
                    <a:pt x="9" y="77"/>
                    <a:pt x="11" y="78"/>
                  </a:cubicBezTo>
                  <a:cubicBezTo>
                    <a:pt x="13" y="68"/>
                    <a:pt x="16" y="59"/>
                    <a:pt x="21" y="50"/>
                  </a:cubicBezTo>
                  <a:cubicBezTo>
                    <a:pt x="29" y="52"/>
                    <a:pt x="36" y="54"/>
                    <a:pt x="44" y="55"/>
                  </a:cubicBezTo>
                  <a:cubicBezTo>
                    <a:pt x="44" y="54"/>
                    <a:pt x="44" y="53"/>
                    <a:pt x="44" y="52"/>
                  </a:cubicBezTo>
                  <a:cubicBezTo>
                    <a:pt x="44" y="50"/>
                    <a:pt x="44" y="47"/>
                    <a:pt x="46" y="45"/>
                  </a:cubicBezTo>
                  <a:cubicBezTo>
                    <a:pt x="40" y="44"/>
                    <a:pt x="33" y="42"/>
                    <a:pt x="27" y="41"/>
                  </a:cubicBezTo>
                  <a:cubicBezTo>
                    <a:pt x="38" y="27"/>
                    <a:pt x="53" y="17"/>
                    <a:pt x="70" y="13"/>
                  </a:cubicBezTo>
                  <a:cubicBezTo>
                    <a:pt x="65" y="19"/>
                    <a:pt x="60" y="28"/>
                    <a:pt x="56" y="39"/>
                  </a:cubicBezTo>
                  <a:cubicBezTo>
                    <a:pt x="57" y="39"/>
                    <a:pt x="57" y="39"/>
                    <a:pt x="57" y="39"/>
                  </a:cubicBezTo>
                  <a:cubicBezTo>
                    <a:pt x="61" y="39"/>
                    <a:pt x="64" y="41"/>
                    <a:pt x="66" y="43"/>
                  </a:cubicBezTo>
                  <a:cubicBezTo>
                    <a:pt x="72" y="24"/>
                    <a:pt x="82" y="13"/>
                    <a:pt x="90" y="13"/>
                  </a:cubicBezTo>
                  <a:cubicBezTo>
                    <a:pt x="99" y="13"/>
                    <a:pt x="109" y="26"/>
                    <a:pt x="115" y="47"/>
                  </a:cubicBezTo>
                  <a:cubicBezTo>
                    <a:pt x="100" y="49"/>
                    <a:pt x="85" y="49"/>
                    <a:pt x="69" y="48"/>
                  </a:cubicBezTo>
                  <a:cubicBezTo>
                    <a:pt x="70" y="49"/>
                    <a:pt x="70" y="51"/>
                    <a:pt x="70" y="52"/>
                  </a:cubicBezTo>
                  <a:cubicBezTo>
                    <a:pt x="70" y="54"/>
                    <a:pt x="70" y="56"/>
                    <a:pt x="69" y="58"/>
                  </a:cubicBezTo>
                  <a:cubicBezTo>
                    <a:pt x="76" y="59"/>
                    <a:pt x="83" y="59"/>
                    <a:pt x="90" y="59"/>
                  </a:cubicBezTo>
                  <a:cubicBezTo>
                    <a:pt x="99" y="59"/>
                    <a:pt x="108" y="59"/>
                    <a:pt x="117" y="58"/>
                  </a:cubicBezTo>
                  <a:cubicBezTo>
                    <a:pt x="119" y="64"/>
                    <a:pt x="119" y="71"/>
                    <a:pt x="120" y="78"/>
                  </a:cubicBezTo>
                  <a:cubicBezTo>
                    <a:pt x="122" y="77"/>
                    <a:pt x="124" y="77"/>
                    <a:pt x="126" y="77"/>
                  </a:cubicBezTo>
                  <a:cubicBezTo>
                    <a:pt x="127" y="77"/>
                    <a:pt x="129" y="77"/>
                    <a:pt x="131" y="78"/>
                  </a:cubicBezTo>
                  <a:cubicBezTo>
                    <a:pt x="130" y="70"/>
                    <a:pt x="129" y="63"/>
                    <a:pt x="128" y="57"/>
                  </a:cubicBezTo>
                  <a:cubicBezTo>
                    <a:pt x="137" y="55"/>
                    <a:pt x="145" y="54"/>
                    <a:pt x="154" y="52"/>
                  </a:cubicBezTo>
                  <a:cubicBezTo>
                    <a:pt x="151" y="49"/>
                    <a:pt x="150" y="46"/>
                    <a:pt x="150" y="42"/>
                  </a:cubicBezTo>
                  <a:cubicBezTo>
                    <a:pt x="150" y="42"/>
                    <a:pt x="150" y="42"/>
                    <a:pt x="150" y="42"/>
                  </a:cubicBezTo>
                  <a:cubicBezTo>
                    <a:pt x="142" y="43"/>
                    <a:pt x="134" y="45"/>
                    <a:pt x="126" y="46"/>
                  </a:cubicBezTo>
                  <a:cubicBezTo>
                    <a:pt x="122" y="32"/>
                    <a:pt x="116" y="20"/>
                    <a:pt x="110" y="13"/>
                  </a:cubicBezTo>
                  <a:cubicBezTo>
                    <a:pt x="126" y="17"/>
                    <a:pt x="140" y="26"/>
                    <a:pt x="151" y="38"/>
                  </a:cubicBezTo>
                  <a:cubicBezTo>
                    <a:pt x="152" y="35"/>
                    <a:pt x="154" y="32"/>
                    <a:pt x="158" y="30"/>
                  </a:cubicBezTo>
                  <a:cubicBezTo>
                    <a:pt x="141" y="11"/>
                    <a:pt x="117" y="0"/>
                    <a:pt x="90" y="0"/>
                  </a:cubicBezTo>
                  <a:cubicBezTo>
                    <a:pt x="44" y="0"/>
                    <a:pt x="7" y="34"/>
                    <a:pt x="0" y="78"/>
                  </a:cubicBezTo>
                  <a:cubicBezTo>
                    <a:pt x="2" y="77"/>
                    <a:pt x="4" y="77"/>
                    <a:pt x="6" y="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77889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17" name="Freeform 319"/>
            <p:cNvSpPr>
              <a:spLocks/>
            </p:cNvSpPr>
            <p:nvPr/>
          </p:nvSpPr>
          <p:spPr bwMode="auto">
            <a:xfrm>
              <a:off x="5833626" y="1844345"/>
              <a:ext cx="332234" cy="643374"/>
            </a:xfrm>
            <a:custGeom>
              <a:avLst/>
              <a:gdLst>
                <a:gd name="T0" fmla="*/ 54 w 63"/>
                <a:gd name="T1" fmla="*/ 0 h 122"/>
                <a:gd name="T2" fmla="*/ 45 w 63"/>
                <a:gd name="T3" fmla="*/ 4 h 122"/>
                <a:gd name="T4" fmla="*/ 44 w 63"/>
                <a:gd name="T5" fmla="*/ 3 h 122"/>
                <a:gd name="T6" fmla="*/ 52 w 63"/>
                <a:gd name="T7" fmla="*/ 34 h 122"/>
                <a:gd name="T8" fmla="*/ 20 w 63"/>
                <a:gd name="T9" fmla="*/ 34 h 122"/>
                <a:gd name="T10" fmla="*/ 21 w 63"/>
                <a:gd name="T11" fmla="*/ 38 h 122"/>
                <a:gd name="T12" fmla="*/ 19 w 63"/>
                <a:gd name="T13" fmla="*/ 45 h 122"/>
                <a:gd name="T14" fmla="*/ 52 w 63"/>
                <a:gd name="T15" fmla="*/ 45 h 122"/>
                <a:gd name="T16" fmla="*/ 33 w 63"/>
                <a:gd name="T17" fmla="*/ 92 h 122"/>
                <a:gd name="T18" fmla="*/ 30 w 63"/>
                <a:gd name="T19" fmla="*/ 91 h 122"/>
                <a:gd name="T20" fmla="*/ 23 w 63"/>
                <a:gd name="T21" fmla="*/ 90 h 122"/>
                <a:gd name="T22" fmla="*/ 15 w 63"/>
                <a:gd name="T23" fmla="*/ 90 h 122"/>
                <a:gd name="T24" fmla="*/ 9 w 63"/>
                <a:gd name="T25" fmla="*/ 90 h 122"/>
                <a:gd name="T26" fmla="*/ 1 w 63"/>
                <a:gd name="T27" fmla="*/ 90 h 122"/>
                <a:gd name="T28" fmla="*/ 0 w 63"/>
                <a:gd name="T29" fmla="*/ 90 h 122"/>
                <a:gd name="T30" fmla="*/ 10 w 63"/>
                <a:gd name="T31" fmla="*/ 101 h 122"/>
                <a:gd name="T32" fmla="*/ 11 w 63"/>
                <a:gd name="T33" fmla="*/ 122 h 122"/>
                <a:gd name="T34" fmla="*/ 63 w 63"/>
                <a:gd name="T35" fmla="*/ 39 h 122"/>
                <a:gd name="T36" fmla="*/ 54 w 63"/>
                <a:gd name="T37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3" h="122">
                  <a:moveTo>
                    <a:pt x="54" y="0"/>
                  </a:moveTo>
                  <a:cubicBezTo>
                    <a:pt x="52" y="2"/>
                    <a:pt x="49" y="4"/>
                    <a:pt x="45" y="4"/>
                  </a:cubicBezTo>
                  <a:cubicBezTo>
                    <a:pt x="45" y="4"/>
                    <a:pt x="44" y="4"/>
                    <a:pt x="44" y="3"/>
                  </a:cubicBezTo>
                  <a:cubicBezTo>
                    <a:pt x="48" y="13"/>
                    <a:pt x="51" y="23"/>
                    <a:pt x="52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1" y="35"/>
                    <a:pt x="21" y="37"/>
                    <a:pt x="21" y="38"/>
                  </a:cubicBezTo>
                  <a:cubicBezTo>
                    <a:pt x="21" y="40"/>
                    <a:pt x="20" y="43"/>
                    <a:pt x="19" y="45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51" y="63"/>
                    <a:pt x="44" y="79"/>
                    <a:pt x="33" y="92"/>
                  </a:cubicBezTo>
                  <a:cubicBezTo>
                    <a:pt x="32" y="92"/>
                    <a:pt x="31" y="91"/>
                    <a:pt x="30" y="91"/>
                  </a:cubicBezTo>
                  <a:cubicBezTo>
                    <a:pt x="30" y="91"/>
                    <a:pt x="25" y="90"/>
                    <a:pt x="23" y="90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9" y="90"/>
                    <a:pt x="9" y="90"/>
                    <a:pt x="9" y="90"/>
                  </a:cubicBezTo>
                  <a:cubicBezTo>
                    <a:pt x="1" y="90"/>
                    <a:pt x="1" y="90"/>
                    <a:pt x="1" y="90"/>
                  </a:cubicBezTo>
                  <a:cubicBezTo>
                    <a:pt x="1" y="90"/>
                    <a:pt x="0" y="90"/>
                    <a:pt x="0" y="90"/>
                  </a:cubicBezTo>
                  <a:cubicBezTo>
                    <a:pt x="5" y="91"/>
                    <a:pt x="9" y="95"/>
                    <a:pt x="10" y="101"/>
                  </a:cubicBezTo>
                  <a:cubicBezTo>
                    <a:pt x="11" y="122"/>
                    <a:pt x="11" y="122"/>
                    <a:pt x="11" y="122"/>
                  </a:cubicBezTo>
                  <a:cubicBezTo>
                    <a:pt x="42" y="107"/>
                    <a:pt x="63" y="76"/>
                    <a:pt x="63" y="39"/>
                  </a:cubicBezTo>
                  <a:cubicBezTo>
                    <a:pt x="63" y="25"/>
                    <a:pt x="60" y="12"/>
                    <a:pt x="54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77889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18" name="Freeform 320"/>
            <p:cNvSpPr>
              <a:spLocks/>
            </p:cNvSpPr>
            <p:nvPr/>
          </p:nvSpPr>
          <p:spPr bwMode="auto">
            <a:xfrm>
              <a:off x="5211347" y="2108023"/>
              <a:ext cx="326961" cy="379696"/>
            </a:xfrm>
            <a:custGeom>
              <a:avLst/>
              <a:gdLst>
                <a:gd name="T0" fmla="*/ 53 w 62"/>
                <a:gd name="T1" fmla="*/ 40 h 72"/>
                <a:gd name="T2" fmla="*/ 48 w 62"/>
                <a:gd name="T3" fmla="*/ 40 h 72"/>
                <a:gd name="T4" fmla="*/ 40 w 62"/>
                <a:gd name="T5" fmla="*/ 40 h 72"/>
                <a:gd name="T6" fmla="*/ 32 w 62"/>
                <a:gd name="T7" fmla="*/ 41 h 72"/>
                <a:gd name="T8" fmla="*/ 29 w 62"/>
                <a:gd name="T9" fmla="*/ 42 h 72"/>
                <a:gd name="T10" fmla="*/ 11 w 62"/>
                <a:gd name="T11" fmla="*/ 0 h 72"/>
                <a:gd name="T12" fmla="*/ 6 w 62"/>
                <a:gd name="T13" fmla="*/ 1 h 72"/>
                <a:gd name="T14" fmla="*/ 0 w 62"/>
                <a:gd name="T15" fmla="*/ 0 h 72"/>
                <a:gd name="T16" fmla="*/ 51 w 62"/>
                <a:gd name="T17" fmla="*/ 72 h 72"/>
                <a:gd name="T18" fmla="*/ 53 w 62"/>
                <a:gd name="T19" fmla="*/ 51 h 72"/>
                <a:gd name="T20" fmla="*/ 62 w 62"/>
                <a:gd name="T21" fmla="*/ 40 h 72"/>
                <a:gd name="T22" fmla="*/ 61 w 62"/>
                <a:gd name="T23" fmla="*/ 40 h 72"/>
                <a:gd name="T24" fmla="*/ 53 w 62"/>
                <a:gd name="T25" fmla="*/ 4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2" h="72">
                  <a:moveTo>
                    <a:pt x="53" y="40"/>
                  </a:moveTo>
                  <a:cubicBezTo>
                    <a:pt x="48" y="40"/>
                    <a:pt x="48" y="40"/>
                    <a:pt x="48" y="40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37" y="40"/>
                    <a:pt x="32" y="41"/>
                    <a:pt x="32" y="41"/>
                  </a:cubicBezTo>
                  <a:cubicBezTo>
                    <a:pt x="31" y="41"/>
                    <a:pt x="30" y="41"/>
                    <a:pt x="29" y="42"/>
                  </a:cubicBezTo>
                  <a:cubicBezTo>
                    <a:pt x="19" y="30"/>
                    <a:pt x="13" y="16"/>
                    <a:pt x="11" y="0"/>
                  </a:cubicBezTo>
                  <a:cubicBezTo>
                    <a:pt x="9" y="1"/>
                    <a:pt x="8" y="1"/>
                    <a:pt x="6" y="1"/>
                  </a:cubicBezTo>
                  <a:cubicBezTo>
                    <a:pt x="4" y="1"/>
                    <a:pt x="2" y="1"/>
                    <a:pt x="0" y="0"/>
                  </a:cubicBezTo>
                  <a:cubicBezTo>
                    <a:pt x="4" y="32"/>
                    <a:pt x="23" y="59"/>
                    <a:pt x="51" y="72"/>
                  </a:cubicBezTo>
                  <a:cubicBezTo>
                    <a:pt x="53" y="51"/>
                    <a:pt x="53" y="51"/>
                    <a:pt x="53" y="51"/>
                  </a:cubicBezTo>
                  <a:cubicBezTo>
                    <a:pt x="53" y="45"/>
                    <a:pt x="57" y="41"/>
                    <a:pt x="62" y="40"/>
                  </a:cubicBezTo>
                  <a:cubicBezTo>
                    <a:pt x="62" y="40"/>
                    <a:pt x="61" y="40"/>
                    <a:pt x="61" y="40"/>
                  </a:cubicBezTo>
                  <a:lnTo>
                    <a:pt x="53" y="4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77889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19" name="Freeform 321"/>
            <p:cNvSpPr>
              <a:spLocks noEditPoints="1"/>
            </p:cNvSpPr>
            <p:nvPr/>
          </p:nvSpPr>
          <p:spPr bwMode="auto">
            <a:xfrm>
              <a:off x="5780891" y="1949816"/>
              <a:ext cx="184575" cy="189848"/>
            </a:xfrm>
            <a:custGeom>
              <a:avLst/>
              <a:gdLst>
                <a:gd name="T0" fmla="*/ 18 w 35"/>
                <a:gd name="T1" fmla="*/ 36 h 36"/>
                <a:gd name="T2" fmla="*/ 0 w 35"/>
                <a:gd name="T3" fmla="*/ 18 h 36"/>
                <a:gd name="T4" fmla="*/ 18 w 35"/>
                <a:gd name="T5" fmla="*/ 0 h 36"/>
                <a:gd name="T6" fmla="*/ 35 w 35"/>
                <a:gd name="T7" fmla="*/ 18 h 36"/>
                <a:gd name="T8" fmla="*/ 18 w 35"/>
                <a:gd name="T9" fmla="*/ 36 h 36"/>
                <a:gd name="T10" fmla="*/ 18 w 35"/>
                <a:gd name="T11" fmla="*/ 9 h 36"/>
                <a:gd name="T12" fmla="*/ 8 w 35"/>
                <a:gd name="T13" fmla="*/ 18 h 36"/>
                <a:gd name="T14" fmla="*/ 18 w 35"/>
                <a:gd name="T15" fmla="*/ 27 h 36"/>
                <a:gd name="T16" fmla="*/ 27 w 35"/>
                <a:gd name="T17" fmla="*/ 18 h 36"/>
                <a:gd name="T18" fmla="*/ 18 w 35"/>
                <a:gd name="T19" fmla="*/ 9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7" y="0"/>
                    <a:pt x="35" y="8"/>
                    <a:pt x="35" y="18"/>
                  </a:cubicBezTo>
                  <a:cubicBezTo>
                    <a:pt x="35" y="28"/>
                    <a:pt x="27" y="36"/>
                    <a:pt x="18" y="36"/>
                  </a:cubicBezTo>
                  <a:close/>
                  <a:moveTo>
                    <a:pt x="18" y="9"/>
                  </a:moveTo>
                  <a:cubicBezTo>
                    <a:pt x="13" y="9"/>
                    <a:pt x="8" y="13"/>
                    <a:pt x="8" y="18"/>
                  </a:cubicBezTo>
                  <a:cubicBezTo>
                    <a:pt x="8" y="23"/>
                    <a:pt x="13" y="27"/>
                    <a:pt x="18" y="27"/>
                  </a:cubicBezTo>
                  <a:cubicBezTo>
                    <a:pt x="23" y="27"/>
                    <a:pt x="27" y="23"/>
                    <a:pt x="27" y="18"/>
                  </a:cubicBezTo>
                  <a:cubicBezTo>
                    <a:pt x="27" y="13"/>
                    <a:pt x="23" y="9"/>
                    <a:pt x="18" y="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77889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220" name="Рисунок 7"/>
          <p:cNvPicPr>
            <a:picLocks noChangeAspect="1"/>
          </p:cNvPicPr>
          <p:nvPr/>
        </p:nvPicPr>
        <p:blipFill>
          <a:blip r:embed="rId12">
            <a:duotone>
              <a:srgbClr val="008080">
                <a:shade val="45000"/>
                <a:satMod val="135000"/>
              </a:srgbClr>
              <a:prstClr val="white"/>
            </a:duotone>
          </a:blip>
          <a:stretch>
            <a:fillRect/>
          </a:stretch>
        </p:blipFill>
        <p:spPr>
          <a:xfrm>
            <a:off x="5376138" y="3226965"/>
            <a:ext cx="614718" cy="615076"/>
          </a:xfrm>
          <a:prstGeom prst="rect">
            <a:avLst/>
          </a:prstGeom>
        </p:spPr>
      </p:pic>
      <p:pic>
        <p:nvPicPr>
          <p:cNvPr id="221" name="Picture 4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5345" y="1666687"/>
            <a:ext cx="661641" cy="5489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22" name="Группа 221"/>
          <p:cNvGrpSpPr>
            <a:grpSpLocks noChangeAspect="1"/>
          </p:cNvGrpSpPr>
          <p:nvPr/>
        </p:nvGrpSpPr>
        <p:grpSpPr>
          <a:xfrm>
            <a:off x="3283713" y="2442110"/>
            <a:ext cx="1217901" cy="649306"/>
            <a:chOff x="362212" y="929904"/>
            <a:chExt cx="9265085" cy="4939541"/>
          </a:xfrm>
        </p:grpSpPr>
        <p:grpSp>
          <p:nvGrpSpPr>
            <p:cNvPr id="223" name="Group 124"/>
            <p:cNvGrpSpPr/>
            <p:nvPr/>
          </p:nvGrpSpPr>
          <p:grpSpPr>
            <a:xfrm>
              <a:off x="597111" y="929904"/>
              <a:ext cx="9030186" cy="4939541"/>
              <a:chOff x="519113" y="1138238"/>
              <a:chExt cx="8083550" cy="4492625"/>
            </a:xfrm>
            <a:solidFill>
              <a:srgbClr val="B2D2D8"/>
            </a:solidFill>
          </p:grpSpPr>
          <p:grpSp>
            <p:nvGrpSpPr>
              <p:cNvPr id="225" name="Group 5"/>
              <p:cNvGrpSpPr>
                <a:grpSpLocks/>
              </p:cNvGrpSpPr>
              <p:nvPr/>
            </p:nvGrpSpPr>
            <p:grpSpPr bwMode="auto">
              <a:xfrm>
                <a:off x="4843463" y="1138238"/>
                <a:ext cx="3759200" cy="4225925"/>
                <a:chOff x="2930" y="717"/>
                <a:chExt cx="2422" cy="2768"/>
              </a:xfrm>
              <a:grpFill/>
            </p:grpSpPr>
            <p:sp>
              <p:nvSpPr>
                <p:cNvPr id="319" name="Freeform 6"/>
                <p:cNvSpPr>
                  <a:spLocks/>
                </p:cNvSpPr>
                <p:nvPr/>
              </p:nvSpPr>
              <p:spPr bwMode="gray">
                <a:xfrm rot="55551">
                  <a:off x="3579" y="1271"/>
                  <a:ext cx="93" cy="94"/>
                </a:xfrm>
                <a:custGeom>
                  <a:avLst/>
                  <a:gdLst>
                    <a:gd name="T0" fmla="*/ 76 w 96"/>
                    <a:gd name="T1" fmla="*/ 20 h 84"/>
                    <a:gd name="T2" fmla="*/ 26 w 96"/>
                    <a:gd name="T3" fmla="*/ 40 h 84"/>
                    <a:gd name="T4" fmla="*/ 0 w 96"/>
                    <a:gd name="T5" fmla="*/ 85 h 84"/>
                    <a:gd name="T6" fmla="*/ 34 w 96"/>
                    <a:gd name="T7" fmla="*/ 105 h 84"/>
                    <a:gd name="T8" fmla="*/ 90 w 96"/>
                    <a:gd name="T9" fmla="*/ 75 h 84"/>
                    <a:gd name="T10" fmla="*/ 76 w 96"/>
                    <a:gd name="T11" fmla="*/ 20 h 8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96" h="84">
                      <a:moveTo>
                        <a:pt x="80" y="16"/>
                      </a:moveTo>
                      <a:cubicBezTo>
                        <a:pt x="31" y="0"/>
                        <a:pt x="76" y="16"/>
                        <a:pt x="28" y="32"/>
                      </a:cubicBezTo>
                      <a:cubicBezTo>
                        <a:pt x="19" y="45"/>
                        <a:pt x="9" y="55"/>
                        <a:pt x="0" y="68"/>
                      </a:cubicBezTo>
                      <a:cubicBezTo>
                        <a:pt x="11" y="75"/>
                        <a:pt x="36" y="84"/>
                        <a:pt x="36" y="84"/>
                      </a:cubicBezTo>
                      <a:cubicBezTo>
                        <a:pt x="59" y="79"/>
                        <a:pt x="74" y="66"/>
                        <a:pt x="96" y="60"/>
                      </a:cubicBezTo>
                      <a:cubicBezTo>
                        <a:pt x="92" y="45"/>
                        <a:pt x="80" y="31"/>
                        <a:pt x="80" y="16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20" name="Freeform 7"/>
                <p:cNvSpPr>
                  <a:spLocks/>
                </p:cNvSpPr>
                <p:nvPr/>
              </p:nvSpPr>
              <p:spPr bwMode="gray">
                <a:xfrm rot="55551">
                  <a:off x="3573" y="1477"/>
                  <a:ext cx="88" cy="56"/>
                </a:xfrm>
                <a:custGeom>
                  <a:avLst/>
                  <a:gdLst>
                    <a:gd name="T0" fmla="*/ 55 w 91"/>
                    <a:gd name="T1" fmla="*/ 12 h 50"/>
                    <a:gd name="T2" fmla="*/ 15 w 91"/>
                    <a:gd name="T3" fmla="*/ 8 h 50"/>
                    <a:gd name="T4" fmla="*/ 11 w 91"/>
                    <a:gd name="T5" fmla="*/ 53 h 50"/>
                    <a:gd name="T6" fmla="*/ 33 w 91"/>
                    <a:gd name="T7" fmla="*/ 63 h 50"/>
                    <a:gd name="T8" fmla="*/ 55 w 91"/>
                    <a:gd name="T9" fmla="*/ 12 h 5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91" h="50">
                      <a:moveTo>
                        <a:pt x="59" y="10"/>
                      </a:moveTo>
                      <a:cubicBezTo>
                        <a:pt x="29" y="0"/>
                        <a:pt x="43" y="0"/>
                        <a:pt x="15" y="6"/>
                      </a:cubicBezTo>
                      <a:cubicBezTo>
                        <a:pt x="14" y="9"/>
                        <a:pt x="0" y="34"/>
                        <a:pt x="11" y="42"/>
                      </a:cubicBezTo>
                      <a:cubicBezTo>
                        <a:pt x="18" y="47"/>
                        <a:pt x="35" y="50"/>
                        <a:pt x="35" y="50"/>
                      </a:cubicBezTo>
                      <a:cubicBezTo>
                        <a:pt x="75" y="46"/>
                        <a:pt x="91" y="42"/>
                        <a:pt x="59" y="10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21" name="Freeform 8"/>
                <p:cNvSpPr>
                  <a:spLocks/>
                </p:cNvSpPr>
                <p:nvPr/>
              </p:nvSpPr>
              <p:spPr bwMode="gray">
                <a:xfrm rot="55551">
                  <a:off x="3402" y="1342"/>
                  <a:ext cx="166" cy="153"/>
                </a:xfrm>
                <a:custGeom>
                  <a:avLst/>
                  <a:gdLst>
                    <a:gd name="T0" fmla="*/ 130 w 171"/>
                    <a:gd name="T1" fmla="*/ 1 h 137"/>
                    <a:gd name="T2" fmla="*/ 96 w 171"/>
                    <a:gd name="T3" fmla="*/ 7 h 137"/>
                    <a:gd name="T4" fmla="*/ 62 w 171"/>
                    <a:gd name="T5" fmla="*/ 11 h 137"/>
                    <a:gd name="T6" fmla="*/ 62 w 171"/>
                    <a:gd name="T7" fmla="*/ 71 h 137"/>
                    <a:gd name="T8" fmla="*/ 28 w 171"/>
                    <a:gd name="T9" fmla="*/ 71 h 137"/>
                    <a:gd name="T10" fmla="*/ 17 w 171"/>
                    <a:gd name="T11" fmla="*/ 66 h 137"/>
                    <a:gd name="T12" fmla="*/ 2 w 171"/>
                    <a:gd name="T13" fmla="*/ 71 h 137"/>
                    <a:gd name="T14" fmla="*/ 17 w 171"/>
                    <a:gd name="T15" fmla="*/ 131 h 137"/>
                    <a:gd name="T16" fmla="*/ 28 w 171"/>
                    <a:gd name="T17" fmla="*/ 136 h 137"/>
                    <a:gd name="T18" fmla="*/ 50 w 171"/>
                    <a:gd name="T19" fmla="*/ 171 h 137"/>
                    <a:gd name="T20" fmla="*/ 104 w 171"/>
                    <a:gd name="T21" fmla="*/ 146 h 137"/>
                    <a:gd name="T22" fmla="*/ 149 w 171"/>
                    <a:gd name="T23" fmla="*/ 92 h 137"/>
                    <a:gd name="T24" fmla="*/ 160 w 171"/>
                    <a:gd name="T25" fmla="*/ 61 h 137"/>
                    <a:gd name="T26" fmla="*/ 130 w 171"/>
                    <a:gd name="T27" fmla="*/ 1 h 137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0" t="0" r="r" b="b"/>
                  <a:pathLst>
                    <a:path w="171" h="137">
                      <a:moveTo>
                        <a:pt x="138" y="1"/>
                      </a:moveTo>
                      <a:cubicBezTo>
                        <a:pt x="123" y="6"/>
                        <a:pt x="117" y="0"/>
                        <a:pt x="102" y="5"/>
                      </a:cubicBezTo>
                      <a:cubicBezTo>
                        <a:pt x="90" y="23"/>
                        <a:pt x="84" y="15"/>
                        <a:pt x="66" y="9"/>
                      </a:cubicBezTo>
                      <a:cubicBezTo>
                        <a:pt x="48" y="36"/>
                        <a:pt x="57" y="30"/>
                        <a:pt x="66" y="57"/>
                      </a:cubicBezTo>
                      <a:cubicBezTo>
                        <a:pt x="47" y="70"/>
                        <a:pt x="59" y="67"/>
                        <a:pt x="30" y="57"/>
                      </a:cubicBezTo>
                      <a:cubicBezTo>
                        <a:pt x="26" y="56"/>
                        <a:pt x="18" y="53"/>
                        <a:pt x="18" y="53"/>
                      </a:cubicBezTo>
                      <a:cubicBezTo>
                        <a:pt x="13" y="54"/>
                        <a:pt x="4" y="52"/>
                        <a:pt x="2" y="57"/>
                      </a:cubicBezTo>
                      <a:cubicBezTo>
                        <a:pt x="0" y="63"/>
                        <a:pt x="15" y="96"/>
                        <a:pt x="18" y="105"/>
                      </a:cubicBezTo>
                      <a:cubicBezTo>
                        <a:pt x="19" y="109"/>
                        <a:pt x="26" y="108"/>
                        <a:pt x="30" y="109"/>
                      </a:cubicBezTo>
                      <a:cubicBezTo>
                        <a:pt x="39" y="123"/>
                        <a:pt x="38" y="132"/>
                        <a:pt x="54" y="137"/>
                      </a:cubicBezTo>
                      <a:cubicBezTo>
                        <a:pt x="73" y="118"/>
                        <a:pt x="81" y="121"/>
                        <a:pt x="110" y="117"/>
                      </a:cubicBezTo>
                      <a:cubicBezTo>
                        <a:pt x="122" y="82"/>
                        <a:pt x="122" y="82"/>
                        <a:pt x="158" y="73"/>
                      </a:cubicBezTo>
                      <a:cubicBezTo>
                        <a:pt x="161" y="68"/>
                        <a:pt x="171" y="56"/>
                        <a:pt x="170" y="49"/>
                      </a:cubicBezTo>
                      <a:cubicBezTo>
                        <a:pt x="169" y="36"/>
                        <a:pt x="154" y="1"/>
                        <a:pt x="138" y="1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22" name="Freeform 9"/>
                <p:cNvSpPr>
                  <a:spLocks/>
                </p:cNvSpPr>
                <p:nvPr/>
              </p:nvSpPr>
              <p:spPr bwMode="gray">
                <a:xfrm rot="55551">
                  <a:off x="3529" y="1478"/>
                  <a:ext cx="43" cy="46"/>
                </a:xfrm>
                <a:custGeom>
                  <a:avLst/>
                  <a:gdLst>
                    <a:gd name="T0" fmla="*/ 31 w 45"/>
                    <a:gd name="T1" fmla="*/ 0 h 40"/>
                    <a:gd name="T2" fmla="*/ 31 w 45"/>
                    <a:gd name="T3" fmla="*/ 47 h 40"/>
                    <a:gd name="T4" fmla="*/ 9 w 45"/>
                    <a:gd name="T5" fmla="*/ 37 h 40"/>
                    <a:gd name="T6" fmla="*/ 31 w 45"/>
                    <a:gd name="T7" fmla="*/ 0 h 40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45" h="40">
                      <a:moveTo>
                        <a:pt x="33" y="0"/>
                      </a:moveTo>
                      <a:cubicBezTo>
                        <a:pt x="36" y="9"/>
                        <a:pt x="45" y="29"/>
                        <a:pt x="33" y="36"/>
                      </a:cubicBezTo>
                      <a:cubicBezTo>
                        <a:pt x="26" y="40"/>
                        <a:pt x="9" y="28"/>
                        <a:pt x="9" y="28"/>
                      </a:cubicBezTo>
                      <a:cubicBezTo>
                        <a:pt x="0" y="0"/>
                        <a:pt x="22" y="21"/>
                        <a:pt x="33" y="0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23" name="Freeform 10"/>
                <p:cNvSpPr>
                  <a:spLocks/>
                </p:cNvSpPr>
                <p:nvPr/>
              </p:nvSpPr>
              <p:spPr bwMode="gray">
                <a:xfrm rot="55551">
                  <a:off x="4235" y="828"/>
                  <a:ext cx="66" cy="111"/>
                </a:xfrm>
                <a:custGeom>
                  <a:avLst/>
                  <a:gdLst>
                    <a:gd name="T0" fmla="*/ 60 w 68"/>
                    <a:gd name="T1" fmla="*/ 9 h 99"/>
                    <a:gd name="T2" fmla="*/ 0 w 68"/>
                    <a:gd name="T3" fmla="*/ 44 h 99"/>
                    <a:gd name="T4" fmla="*/ 46 w 68"/>
                    <a:gd name="T5" fmla="*/ 124 h 99"/>
                    <a:gd name="T6" fmla="*/ 64 w 68"/>
                    <a:gd name="T7" fmla="*/ 59 h 99"/>
                    <a:gd name="T8" fmla="*/ 60 w 68"/>
                    <a:gd name="T9" fmla="*/ 9 h 9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68" h="99">
                      <a:moveTo>
                        <a:pt x="64" y="7"/>
                      </a:moveTo>
                      <a:cubicBezTo>
                        <a:pt x="17" y="11"/>
                        <a:pt x="12" y="0"/>
                        <a:pt x="0" y="35"/>
                      </a:cubicBezTo>
                      <a:cubicBezTo>
                        <a:pt x="18" y="62"/>
                        <a:pt x="13" y="87"/>
                        <a:pt x="48" y="99"/>
                      </a:cubicBezTo>
                      <a:cubicBezTo>
                        <a:pt x="54" y="81"/>
                        <a:pt x="62" y="65"/>
                        <a:pt x="68" y="47"/>
                      </a:cubicBezTo>
                      <a:cubicBezTo>
                        <a:pt x="64" y="10"/>
                        <a:pt x="64" y="23"/>
                        <a:pt x="64" y="7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24" name="Freeform 11"/>
                <p:cNvSpPr>
                  <a:spLocks/>
                </p:cNvSpPr>
                <p:nvPr/>
              </p:nvSpPr>
              <p:spPr bwMode="gray">
                <a:xfrm rot="55551">
                  <a:off x="2930" y="1338"/>
                  <a:ext cx="1407" cy="1527"/>
                </a:xfrm>
                <a:custGeom>
                  <a:avLst/>
                  <a:gdLst>
                    <a:gd name="T0" fmla="*/ 1145 w 1455"/>
                    <a:gd name="T1" fmla="*/ 20 h 1368"/>
                    <a:gd name="T2" fmla="*/ 1017 w 1455"/>
                    <a:gd name="T3" fmla="*/ 70 h 1368"/>
                    <a:gd name="T4" fmla="*/ 987 w 1455"/>
                    <a:gd name="T5" fmla="*/ 135 h 1368"/>
                    <a:gd name="T6" fmla="*/ 950 w 1455"/>
                    <a:gd name="T7" fmla="*/ 164 h 1368"/>
                    <a:gd name="T8" fmla="*/ 835 w 1455"/>
                    <a:gd name="T9" fmla="*/ 135 h 1368"/>
                    <a:gd name="T10" fmla="*/ 785 w 1455"/>
                    <a:gd name="T11" fmla="*/ 180 h 1368"/>
                    <a:gd name="T12" fmla="*/ 751 w 1455"/>
                    <a:gd name="T13" fmla="*/ 219 h 1368"/>
                    <a:gd name="T14" fmla="*/ 673 w 1455"/>
                    <a:gd name="T15" fmla="*/ 265 h 1368"/>
                    <a:gd name="T16" fmla="*/ 692 w 1455"/>
                    <a:gd name="T17" fmla="*/ 349 h 1368"/>
                    <a:gd name="T18" fmla="*/ 617 w 1455"/>
                    <a:gd name="T19" fmla="*/ 449 h 1368"/>
                    <a:gd name="T20" fmla="*/ 535 w 1455"/>
                    <a:gd name="T21" fmla="*/ 538 h 1368"/>
                    <a:gd name="T22" fmla="*/ 456 w 1455"/>
                    <a:gd name="T23" fmla="*/ 453 h 1368"/>
                    <a:gd name="T24" fmla="*/ 385 w 1455"/>
                    <a:gd name="T25" fmla="*/ 404 h 1368"/>
                    <a:gd name="T26" fmla="*/ 303 w 1455"/>
                    <a:gd name="T27" fmla="*/ 489 h 1368"/>
                    <a:gd name="T28" fmla="*/ 154 w 1455"/>
                    <a:gd name="T29" fmla="*/ 508 h 1368"/>
                    <a:gd name="T30" fmla="*/ 34 w 1455"/>
                    <a:gd name="T31" fmla="*/ 554 h 1368"/>
                    <a:gd name="T32" fmla="*/ 104 w 1455"/>
                    <a:gd name="T33" fmla="*/ 693 h 1368"/>
                    <a:gd name="T34" fmla="*/ 101 w 1455"/>
                    <a:gd name="T35" fmla="*/ 803 h 1368"/>
                    <a:gd name="T36" fmla="*/ 44 w 1455"/>
                    <a:gd name="T37" fmla="*/ 862 h 1368"/>
                    <a:gd name="T38" fmla="*/ 0 w 1455"/>
                    <a:gd name="T39" fmla="*/ 907 h 1368"/>
                    <a:gd name="T40" fmla="*/ 68 w 1455"/>
                    <a:gd name="T41" fmla="*/ 1136 h 1368"/>
                    <a:gd name="T42" fmla="*/ 98 w 1455"/>
                    <a:gd name="T43" fmla="*/ 1320 h 1368"/>
                    <a:gd name="T44" fmla="*/ 184 w 1455"/>
                    <a:gd name="T45" fmla="*/ 1336 h 1368"/>
                    <a:gd name="T46" fmla="*/ 254 w 1455"/>
                    <a:gd name="T47" fmla="*/ 1435 h 1368"/>
                    <a:gd name="T48" fmla="*/ 262 w 1455"/>
                    <a:gd name="T49" fmla="*/ 1500 h 1368"/>
                    <a:gd name="T50" fmla="*/ 378 w 1455"/>
                    <a:gd name="T51" fmla="*/ 1680 h 1368"/>
                    <a:gd name="T52" fmla="*/ 471 w 1455"/>
                    <a:gd name="T53" fmla="*/ 1575 h 1368"/>
                    <a:gd name="T54" fmla="*/ 561 w 1455"/>
                    <a:gd name="T55" fmla="*/ 1540 h 1368"/>
                    <a:gd name="T56" fmla="*/ 673 w 1455"/>
                    <a:gd name="T57" fmla="*/ 1620 h 1368"/>
                    <a:gd name="T58" fmla="*/ 811 w 1455"/>
                    <a:gd name="T59" fmla="*/ 1690 h 1368"/>
                    <a:gd name="T60" fmla="*/ 917 w 1455"/>
                    <a:gd name="T61" fmla="*/ 1664 h 1368"/>
                    <a:gd name="T62" fmla="*/ 1055 w 1455"/>
                    <a:gd name="T63" fmla="*/ 1660 h 1368"/>
                    <a:gd name="T64" fmla="*/ 1092 w 1455"/>
                    <a:gd name="T65" fmla="*/ 1620 h 1368"/>
                    <a:gd name="T66" fmla="*/ 1182 w 1455"/>
                    <a:gd name="T67" fmla="*/ 1569 h 1368"/>
                    <a:gd name="T68" fmla="*/ 1126 w 1455"/>
                    <a:gd name="T69" fmla="*/ 1381 h 1368"/>
                    <a:gd name="T70" fmla="*/ 1186 w 1455"/>
                    <a:gd name="T71" fmla="*/ 1187 h 1368"/>
                    <a:gd name="T72" fmla="*/ 1227 w 1455"/>
                    <a:gd name="T73" fmla="*/ 1066 h 1368"/>
                    <a:gd name="T74" fmla="*/ 1186 w 1455"/>
                    <a:gd name="T75" fmla="*/ 1021 h 1368"/>
                    <a:gd name="T76" fmla="*/ 1305 w 1455"/>
                    <a:gd name="T77" fmla="*/ 843 h 1368"/>
                    <a:gd name="T78" fmla="*/ 1257 w 1455"/>
                    <a:gd name="T79" fmla="*/ 718 h 1368"/>
                    <a:gd name="T80" fmla="*/ 1264 w 1455"/>
                    <a:gd name="T81" fmla="*/ 603 h 1368"/>
                    <a:gd name="T82" fmla="*/ 1339 w 1455"/>
                    <a:gd name="T83" fmla="*/ 528 h 1368"/>
                    <a:gd name="T84" fmla="*/ 1302 w 1455"/>
                    <a:gd name="T85" fmla="*/ 334 h 1368"/>
                    <a:gd name="T86" fmla="*/ 1346 w 1455"/>
                    <a:gd name="T87" fmla="*/ 219 h 1368"/>
                    <a:gd name="T88" fmla="*/ 1261 w 1455"/>
                    <a:gd name="T89" fmla="*/ 95 h 1368"/>
                    <a:gd name="T90" fmla="*/ 1197 w 1455"/>
                    <a:gd name="T91" fmla="*/ 0 h 1368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0" t="0" r="r" b="b"/>
                  <a:pathLst>
                    <a:path w="1455" h="1368">
                      <a:moveTo>
                        <a:pt x="1280" y="0"/>
                      </a:moveTo>
                      <a:cubicBezTo>
                        <a:pt x="1267" y="4"/>
                        <a:pt x="1244" y="20"/>
                        <a:pt x="1244" y="20"/>
                      </a:cubicBezTo>
                      <a:cubicBezTo>
                        <a:pt x="1237" y="19"/>
                        <a:pt x="1231" y="18"/>
                        <a:pt x="1224" y="16"/>
                      </a:cubicBezTo>
                      <a:cubicBezTo>
                        <a:pt x="1216" y="14"/>
                        <a:pt x="1200" y="8"/>
                        <a:pt x="1200" y="8"/>
                      </a:cubicBezTo>
                      <a:cubicBezTo>
                        <a:pt x="1173" y="9"/>
                        <a:pt x="1146" y="7"/>
                        <a:pt x="1120" y="12"/>
                      </a:cubicBezTo>
                      <a:cubicBezTo>
                        <a:pt x="1116" y="13"/>
                        <a:pt x="1101" y="47"/>
                        <a:pt x="1088" y="56"/>
                      </a:cubicBezTo>
                      <a:cubicBezTo>
                        <a:pt x="1085" y="60"/>
                        <a:pt x="1084" y="65"/>
                        <a:pt x="1080" y="68"/>
                      </a:cubicBezTo>
                      <a:cubicBezTo>
                        <a:pt x="1077" y="71"/>
                        <a:pt x="1070" y="69"/>
                        <a:pt x="1068" y="72"/>
                      </a:cubicBezTo>
                      <a:cubicBezTo>
                        <a:pt x="1068" y="72"/>
                        <a:pt x="1058" y="102"/>
                        <a:pt x="1056" y="108"/>
                      </a:cubicBezTo>
                      <a:cubicBezTo>
                        <a:pt x="1055" y="112"/>
                        <a:pt x="1056" y="119"/>
                        <a:pt x="1052" y="120"/>
                      </a:cubicBezTo>
                      <a:cubicBezTo>
                        <a:pt x="1044" y="123"/>
                        <a:pt x="1036" y="125"/>
                        <a:pt x="1028" y="128"/>
                      </a:cubicBezTo>
                      <a:cubicBezTo>
                        <a:pt x="1024" y="129"/>
                        <a:pt x="1016" y="132"/>
                        <a:pt x="1016" y="132"/>
                      </a:cubicBezTo>
                      <a:cubicBezTo>
                        <a:pt x="969" y="116"/>
                        <a:pt x="1034" y="112"/>
                        <a:pt x="968" y="120"/>
                      </a:cubicBezTo>
                      <a:cubicBezTo>
                        <a:pt x="953" y="143"/>
                        <a:pt x="937" y="124"/>
                        <a:pt x="916" y="116"/>
                      </a:cubicBezTo>
                      <a:cubicBezTo>
                        <a:pt x="908" y="113"/>
                        <a:pt x="892" y="108"/>
                        <a:pt x="892" y="108"/>
                      </a:cubicBezTo>
                      <a:cubicBezTo>
                        <a:pt x="884" y="111"/>
                        <a:pt x="875" y="111"/>
                        <a:pt x="868" y="116"/>
                      </a:cubicBezTo>
                      <a:cubicBezTo>
                        <a:pt x="860" y="121"/>
                        <a:pt x="844" y="132"/>
                        <a:pt x="844" y="132"/>
                      </a:cubicBezTo>
                      <a:cubicBezTo>
                        <a:pt x="843" y="136"/>
                        <a:pt x="840" y="140"/>
                        <a:pt x="840" y="144"/>
                      </a:cubicBezTo>
                      <a:cubicBezTo>
                        <a:pt x="841" y="152"/>
                        <a:pt x="848" y="168"/>
                        <a:pt x="848" y="168"/>
                      </a:cubicBezTo>
                      <a:cubicBezTo>
                        <a:pt x="820" y="187"/>
                        <a:pt x="834" y="153"/>
                        <a:pt x="816" y="180"/>
                      </a:cubicBezTo>
                      <a:cubicBezTo>
                        <a:pt x="812" y="179"/>
                        <a:pt x="806" y="179"/>
                        <a:pt x="804" y="176"/>
                      </a:cubicBezTo>
                      <a:cubicBezTo>
                        <a:pt x="799" y="169"/>
                        <a:pt x="796" y="152"/>
                        <a:pt x="796" y="152"/>
                      </a:cubicBezTo>
                      <a:cubicBezTo>
                        <a:pt x="760" y="158"/>
                        <a:pt x="771" y="170"/>
                        <a:pt x="740" y="180"/>
                      </a:cubicBezTo>
                      <a:cubicBezTo>
                        <a:pt x="730" y="209"/>
                        <a:pt x="739" y="199"/>
                        <a:pt x="720" y="212"/>
                      </a:cubicBezTo>
                      <a:cubicBezTo>
                        <a:pt x="702" y="240"/>
                        <a:pt x="707" y="227"/>
                        <a:pt x="700" y="248"/>
                      </a:cubicBezTo>
                      <a:cubicBezTo>
                        <a:pt x="708" y="251"/>
                        <a:pt x="716" y="253"/>
                        <a:pt x="724" y="256"/>
                      </a:cubicBezTo>
                      <a:cubicBezTo>
                        <a:pt x="733" y="259"/>
                        <a:pt x="740" y="280"/>
                        <a:pt x="740" y="280"/>
                      </a:cubicBezTo>
                      <a:cubicBezTo>
                        <a:pt x="735" y="299"/>
                        <a:pt x="735" y="326"/>
                        <a:pt x="716" y="332"/>
                      </a:cubicBezTo>
                      <a:cubicBezTo>
                        <a:pt x="700" y="327"/>
                        <a:pt x="697" y="318"/>
                        <a:pt x="680" y="324"/>
                      </a:cubicBezTo>
                      <a:cubicBezTo>
                        <a:pt x="673" y="334"/>
                        <a:pt x="669" y="352"/>
                        <a:pt x="660" y="360"/>
                      </a:cubicBezTo>
                      <a:cubicBezTo>
                        <a:pt x="650" y="368"/>
                        <a:pt x="624" y="370"/>
                        <a:pt x="612" y="372"/>
                      </a:cubicBezTo>
                      <a:cubicBezTo>
                        <a:pt x="606" y="390"/>
                        <a:pt x="622" y="419"/>
                        <a:pt x="596" y="428"/>
                      </a:cubicBezTo>
                      <a:cubicBezTo>
                        <a:pt x="588" y="431"/>
                        <a:pt x="580" y="431"/>
                        <a:pt x="572" y="432"/>
                      </a:cubicBezTo>
                      <a:cubicBezTo>
                        <a:pt x="545" y="450"/>
                        <a:pt x="552" y="428"/>
                        <a:pt x="528" y="420"/>
                      </a:cubicBezTo>
                      <a:cubicBezTo>
                        <a:pt x="518" y="406"/>
                        <a:pt x="518" y="383"/>
                        <a:pt x="504" y="372"/>
                      </a:cubicBezTo>
                      <a:cubicBezTo>
                        <a:pt x="499" y="368"/>
                        <a:pt x="493" y="368"/>
                        <a:pt x="488" y="364"/>
                      </a:cubicBezTo>
                      <a:cubicBezTo>
                        <a:pt x="479" y="357"/>
                        <a:pt x="472" y="348"/>
                        <a:pt x="464" y="340"/>
                      </a:cubicBezTo>
                      <a:cubicBezTo>
                        <a:pt x="457" y="333"/>
                        <a:pt x="448" y="316"/>
                        <a:pt x="448" y="316"/>
                      </a:cubicBezTo>
                      <a:cubicBezTo>
                        <a:pt x="421" y="325"/>
                        <a:pt x="454" y="315"/>
                        <a:pt x="412" y="324"/>
                      </a:cubicBezTo>
                      <a:cubicBezTo>
                        <a:pt x="399" y="327"/>
                        <a:pt x="389" y="336"/>
                        <a:pt x="376" y="340"/>
                      </a:cubicBezTo>
                      <a:cubicBezTo>
                        <a:pt x="370" y="323"/>
                        <a:pt x="365" y="322"/>
                        <a:pt x="348" y="328"/>
                      </a:cubicBezTo>
                      <a:cubicBezTo>
                        <a:pt x="345" y="337"/>
                        <a:pt x="328" y="386"/>
                        <a:pt x="324" y="392"/>
                      </a:cubicBezTo>
                      <a:cubicBezTo>
                        <a:pt x="312" y="411"/>
                        <a:pt x="264" y="413"/>
                        <a:pt x="244" y="420"/>
                      </a:cubicBezTo>
                      <a:cubicBezTo>
                        <a:pt x="217" y="411"/>
                        <a:pt x="224" y="399"/>
                        <a:pt x="204" y="392"/>
                      </a:cubicBezTo>
                      <a:cubicBezTo>
                        <a:pt x="189" y="396"/>
                        <a:pt x="179" y="404"/>
                        <a:pt x="164" y="408"/>
                      </a:cubicBezTo>
                      <a:cubicBezTo>
                        <a:pt x="142" y="413"/>
                        <a:pt x="123" y="415"/>
                        <a:pt x="104" y="428"/>
                      </a:cubicBezTo>
                      <a:cubicBezTo>
                        <a:pt x="90" y="407"/>
                        <a:pt x="79" y="411"/>
                        <a:pt x="60" y="424"/>
                      </a:cubicBezTo>
                      <a:cubicBezTo>
                        <a:pt x="41" y="418"/>
                        <a:pt x="41" y="428"/>
                        <a:pt x="36" y="444"/>
                      </a:cubicBezTo>
                      <a:cubicBezTo>
                        <a:pt x="43" y="464"/>
                        <a:pt x="54" y="478"/>
                        <a:pt x="68" y="492"/>
                      </a:cubicBezTo>
                      <a:cubicBezTo>
                        <a:pt x="71" y="502"/>
                        <a:pt x="80" y="532"/>
                        <a:pt x="88" y="540"/>
                      </a:cubicBezTo>
                      <a:cubicBezTo>
                        <a:pt x="95" y="547"/>
                        <a:pt x="104" y="551"/>
                        <a:pt x="112" y="556"/>
                      </a:cubicBezTo>
                      <a:cubicBezTo>
                        <a:pt x="116" y="559"/>
                        <a:pt x="124" y="564"/>
                        <a:pt x="124" y="564"/>
                      </a:cubicBezTo>
                      <a:cubicBezTo>
                        <a:pt x="138" y="605"/>
                        <a:pt x="127" y="591"/>
                        <a:pt x="96" y="612"/>
                      </a:cubicBezTo>
                      <a:cubicBezTo>
                        <a:pt x="90" y="631"/>
                        <a:pt x="102" y="626"/>
                        <a:pt x="108" y="644"/>
                      </a:cubicBezTo>
                      <a:cubicBezTo>
                        <a:pt x="80" y="653"/>
                        <a:pt x="87" y="644"/>
                        <a:pt x="80" y="664"/>
                      </a:cubicBezTo>
                      <a:cubicBezTo>
                        <a:pt x="86" y="682"/>
                        <a:pt x="83" y="686"/>
                        <a:pt x="68" y="696"/>
                      </a:cubicBezTo>
                      <a:cubicBezTo>
                        <a:pt x="61" y="695"/>
                        <a:pt x="53" y="697"/>
                        <a:pt x="48" y="692"/>
                      </a:cubicBezTo>
                      <a:cubicBezTo>
                        <a:pt x="45" y="689"/>
                        <a:pt x="60" y="684"/>
                        <a:pt x="60" y="688"/>
                      </a:cubicBezTo>
                      <a:cubicBezTo>
                        <a:pt x="60" y="693"/>
                        <a:pt x="39" y="699"/>
                        <a:pt x="36" y="700"/>
                      </a:cubicBezTo>
                      <a:cubicBezTo>
                        <a:pt x="25" y="711"/>
                        <a:pt x="0" y="728"/>
                        <a:pt x="0" y="728"/>
                      </a:cubicBezTo>
                      <a:cubicBezTo>
                        <a:pt x="15" y="751"/>
                        <a:pt x="36" y="795"/>
                        <a:pt x="64" y="804"/>
                      </a:cubicBezTo>
                      <a:cubicBezTo>
                        <a:pt x="69" y="849"/>
                        <a:pt x="76" y="865"/>
                        <a:pt x="32" y="876"/>
                      </a:cubicBezTo>
                      <a:cubicBezTo>
                        <a:pt x="38" y="893"/>
                        <a:pt x="55" y="906"/>
                        <a:pt x="72" y="912"/>
                      </a:cubicBezTo>
                      <a:cubicBezTo>
                        <a:pt x="61" y="929"/>
                        <a:pt x="65" y="932"/>
                        <a:pt x="76" y="948"/>
                      </a:cubicBezTo>
                      <a:cubicBezTo>
                        <a:pt x="80" y="964"/>
                        <a:pt x="83" y="980"/>
                        <a:pt x="88" y="996"/>
                      </a:cubicBezTo>
                      <a:cubicBezTo>
                        <a:pt x="80" y="1021"/>
                        <a:pt x="73" y="1050"/>
                        <a:pt x="104" y="1060"/>
                      </a:cubicBezTo>
                      <a:cubicBezTo>
                        <a:pt x="116" y="1042"/>
                        <a:pt x="112" y="1041"/>
                        <a:pt x="144" y="1052"/>
                      </a:cubicBezTo>
                      <a:cubicBezTo>
                        <a:pt x="153" y="1055"/>
                        <a:pt x="168" y="1068"/>
                        <a:pt x="168" y="1068"/>
                      </a:cubicBezTo>
                      <a:cubicBezTo>
                        <a:pt x="194" y="1059"/>
                        <a:pt x="190" y="1052"/>
                        <a:pt x="196" y="1072"/>
                      </a:cubicBezTo>
                      <a:cubicBezTo>
                        <a:pt x="198" y="1077"/>
                        <a:pt x="196" y="1084"/>
                        <a:pt x="200" y="1088"/>
                      </a:cubicBezTo>
                      <a:cubicBezTo>
                        <a:pt x="206" y="1093"/>
                        <a:pt x="224" y="1096"/>
                        <a:pt x="224" y="1096"/>
                      </a:cubicBezTo>
                      <a:cubicBezTo>
                        <a:pt x="244" y="1126"/>
                        <a:pt x="239" y="1135"/>
                        <a:pt x="272" y="1152"/>
                      </a:cubicBezTo>
                      <a:cubicBezTo>
                        <a:pt x="269" y="1160"/>
                        <a:pt x="267" y="1168"/>
                        <a:pt x="264" y="1176"/>
                      </a:cubicBezTo>
                      <a:cubicBezTo>
                        <a:pt x="263" y="1180"/>
                        <a:pt x="260" y="1188"/>
                        <a:pt x="260" y="1188"/>
                      </a:cubicBezTo>
                      <a:cubicBezTo>
                        <a:pt x="275" y="1210"/>
                        <a:pt x="260" y="1193"/>
                        <a:pt x="280" y="1204"/>
                      </a:cubicBezTo>
                      <a:cubicBezTo>
                        <a:pt x="288" y="1209"/>
                        <a:pt x="304" y="1220"/>
                        <a:pt x="304" y="1220"/>
                      </a:cubicBezTo>
                      <a:cubicBezTo>
                        <a:pt x="321" y="1270"/>
                        <a:pt x="282" y="1337"/>
                        <a:pt x="340" y="1356"/>
                      </a:cubicBezTo>
                      <a:cubicBezTo>
                        <a:pt x="361" y="1354"/>
                        <a:pt x="389" y="1363"/>
                        <a:pt x="404" y="1348"/>
                      </a:cubicBezTo>
                      <a:cubicBezTo>
                        <a:pt x="411" y="1341"/>
                        <a:pt x="415" y="1332"/>
                        <a:pt x="420" y="1324"/>
                      </a:cubicBezTo>
                      <a:cubicBezTo>
                        <a:pt x="425" y="1317"/>
                        <a:pt x="467" y="1313"/>
                        <a:pt x="472" y="1312"/>
                      </a:cubicBezTo>
                      <a:cubicBezTo>
                        <a:pt x="501" y="1302"/>
                        <a:pt x="498" y="1292"/>
                        <a:pt x="504" y="1264"/>
                      </a:cubicBezTo>
                      <a:cubicBezTo>
                        <a:pt x="507" y="1249"/>
                        <a:pt x="519" y="1229"/>
                        <a:pt x="528" y="1216"/>
                      </a:cubicBezTo>
                      <a:cubicBezTo>
                        <a:pt x="536" y="1205"/>
                        <a:pt x="564" y="1196"/>
                        <a:pt x="564" y="1196"/>
                      </a:cubicBezTo>
                      <a:cubicBezTo>
                        <a:pt x="582" y="1202"/>
                        <a:pt x="584" y="1223"/>
                        <a:pt x="600" y="1236"/>
                      </a:cubicBezTo>
                      <a:cubicBezTo>
                        <a:pt x="611" y="1245"/>
                        <a:pt x="624" y="1248"/>
                        <a:pt x="636" y="1256"/>
                      </a:cubicBezTo>
                      <a:cubicBezTo>
                        <a:pt x="650" y="1253"/>
                        <a:pt x="676" y="1244"/>
                        <a:pt x="676" y="1244"/>
                      </a:cubicBezTo>
                      <a:cubicBezTo>
                        <a:pt x="686" y="1260"/>
                        <a:pt x="702" y="1294"/>
                        <a:pt x="720" y="1300"/>
                      </a:cubicBezTo>
                      <a:cubicBezTo>
                        <a:pt x="730" y="1315"/>
                        <a:pt x="745" y="1330"/>
                        <a:pt x="760" y="1340"/>
                      </a:cubicBezTo>
                      <a:cubicBezTo>
                        <a:pt x="765" y="1356"/>
                        <a:pt x="783" y="1362"/>
                        <a:pt x="800" y="1368"/>
                      </a:cubicBezTo>
                      <a:cubicBezTo>
                        <a:pt x="810" y="1339"/>
                        <a:pt x="840" y="1354"/>
                        <a:pt x="868" y="1356"/>
                      </a:cubicBezTo>
                      <a:cubicBezTo>
                        <a:pt x="902" y="1345"/>
                        <a:pt x="884" y="1347"/>
                        <a:pt x="924" y="1352"/>
                      </a:cubicBezTo>
                      <a:cubicBezTo>
                        <a:pt x="952" y="1346"/>
                        <a:pt x="938" y="1350"/>
                        <a:pt x="968" y="1340"/>
                      </a:cubicBezTo>
                      <a:cubicBezTo>
                        <a:pt x="972" y="1339"/>
                        <a:pt x="980" y="1336"/>
                        <a:pt x="980" y="1336"/>
                      </a:cubicBezTo>
                      <a:cubicBezTo>
                        <a:pt x="999" y="1341"/>
                        <a:pt x="1018" y="1346"/>
                        <a:pt x="1036" y="1352"/>
                      </a:cubicBezTo>
                      <a:cubicBezTo>
                        <a:pt x="1060" y="1349"/>
                        <a:pt x="1071" y="1352"/>
                        <a:pt x="1084" y="1332"/>
                      </a:cubicBezTo>
                      <a:cubicBezTo>
                        <a:pt x="1087" y="1332"/>
                        <a:pt x="1119" y="1341"/>
                        <a:pt x="1128" y="1332"/>
                      </a:cubicBezTo>
                      <a:cubicBezTo>
                        <a:pt x="1131" y="1329"/>
                        <a:pt x="1129" y="1323"/>
                        <a:pt x="1132" y="1320"/>
                      </a:cubicBezTo>
                      <a:cubicBezTo>
                        <a:pt x="1135" y="1317"/>
                        <a:pt x="1140" y="1318"/>
                        <a:pt x="1144" y="1316"/>
                      </a:cubicBezTo>
                      <a:cubicBezTo>
                        <a:pt x="1152" y="1311"/>
                        <a:pt x="1158" y="1301"/>
                        <a:pt x="1168" y="1300"/>
                      </a:cubicBezTo>
                      <a:cubicBezTo>
                        <a:pt x="1181" y="1299"/>
                        <a:pt x="1195" y="1297"/>
                        <a:pt x="1208" y="1296"/>
                      </a:cubicBezTo>
                      <a:cubicBezTo>
                        <a:pt x="1221" y="1276"/>
                        <a:pt x="1212" y="1287"/>
                        <a:pt x="1240" y="1268"/>
                      </a:cubicBezTo>
                      <a:cubicBezTo>
                        <a:pt x="1247" y="1263"/>
                        <a:pt x="1264" y="1260"/>
                        <a:pt x="1264" y="1260"/>
                      </a:cubicBezTo>
                      <a:cubicBezTo>
                        <a:pt x="1276" y="1242"/>
                        <a:pt x="1268" y="1225"/>
                        <a:pt x="1256" y="1208"/>
                      </a:cubicBezTo>
                      <a:cubicBezTo>
                        <a:pt x="1265" y="1171"/>
                        <a:pt x="1254" y="1169"/>
                        <a:pt x="1228" y="1152"/>
                      </a:cubicBezTo>
                      <a:cubicBezTo>
                        <a:pt x="1220" y="1129"/>
                        <a:pt x="1222" y="1120"/>
                        <a:pt x="1204" y="1108"/>
                      </a:cubicBezTo>
                      <a:cubicBezTo>
                        <a:pt x="1195" y="1081"/>
                        <a:pt x="1184" y="1041"/>
                        <a:pt x="1204" y="1016"/>
                      </a:cubicBezTo>
                      <a:cubicBezTo>
                        <a:pt x="1215" y="1002"/>
                        <a:pt x="1242" y="1002"/>
                        <a:pt x="1256" y="1000"/>
                      </a:cubicBezTo>
                      <a:cubicBezTo>
                        <a:pt x="1268" y="981"/>
                        <a:pt x="1251" y="960"/>
                        <a:pt x="1268" y="952"/>
                      </a:cubicBezTo>
                      <a:cubicBezTo>
                        <a:pt x="1278" y="947"/>
                        <a:pt x="1300" y="944"/>
                        <a:pt x="1300" y="944"/>
                      </a:cubicBezTo>
                      <a:cubicBezTo>
                        <a:pt x="1318" y="916"/>
                        <a:pt x="1313" y="929"/>
                        <a:pt x="1320" y="908"/>
                      </a:cubicBezTo>
                      <a:cubicBezTo>
                        <a:pt x="1317" y="891"/>
                        <a:pt x="1321" y="871"/>
                        <a:pt x="1312" y="856"/>
                      </a:cubicBezTo>
                      <a:cubicBezTo>
                        <a:pt x="1307" y="848"/>
                        <a:pt x="1296" y="845"/>
                        <a:pt x="1288" y="840"/>
                      </a:cubicBezTo>
                      <a:cubicBezTo>
                        <a:pt x="1284" y="837"/>
                        <a:pt x="1276" y="832"/>
                        <a:pt x="1276" y="832"/>
                      </a:cubicBezTo>
                      <a:cubicBezTo>
                        <a:pt x="1273" y="828"/>
                        <a:pt x="1268" y="825"/>
                        <a:pt x="1268" y="820"/>
                      </a:cubicBezTo>
                      <a:cubicBezTo>
                        <a:pt x="1268" y="808"/>
                        <a:pt x="1282" y="774"/>
                        <a:pt x="1284" y="760"/>
                      </a:cubicBezTo>
                      <a:cubicBezTo>
                        <a:pt x="1273" y="704"/>
                        <a:pt x="1235" y="710"/>
                        <a:pt x="1336" y="704"/>
                      </a:cubicBezTo>
                      <a:cubicBezTo>
                        <a:pt x="1357" y="697"/>
                        <a:pt x="1377" y="689"/>
                        <a:pt x="1396" y="676"/>
                      </a:cubicBezTo>
                      <a:cubicBezTo>
                        <a:pt x="1412" y="652"/>
                        <a:pt x="1399" y="635"/>
                        <a:pt x="1384" y="616"/>
                      </a:cubicBezTo>
                      <a:cubicBezTo>
                        <a:pt x="1378" y="608"/>
                        <a:pt x="1376" y="597"/>
                        <a:pt x="1368" y="592"/>
                      </a:cubicBezTo>
                      <a:cubicBezTo>
                        <a:pt x="1360" y="587"/>
                        <a:pt x="1352" y="581"/>
                        <a:pt x="1344" y="576"/>
                      </a:cubicBezTo>
                      <a:cubicBezTo>
                        <a:pt x="1340" y="573"/>
                        <a:pt x="1332" y="568"/>
                        <a:pt x="1332" y="568"/>
                      </a:cubicBezTo>
                      <a:cubicBezTo>
                        <a:pt x="1319" y="530"/>
                        <a:pt x="1323" y="519"/>
                        <a:pt x="1360" y="500"/>
                      </a:cubicBezTo>
                      <a:cubicBezTo>
                        <a:pt x="1371" y="468"/>
                        <a:pt x="1363" y="505"/>
                        <a:pt x="1352" y="484"/>
                      </a:cubicBezTo>
                      <a:cubicBezTo>
                        <a:pt x="1347" y="474"/>
                        <a:pt x="1364" y="466"/>
                        <a:pt x="1368" y="464"/>
                      </a:cubicBezTo>
                      <a:cubicBezTo>
                        <a:pt x="1378" y="435"/>
                        <a:pt x="1368" y="442"/>
                        <a:pt x="1392" y="436"/>
                      </a:cubicBezTo>
                      <a:cubicBezTo>
                        <a:pt x="1404" y="428"/>
                        <a:pt x="1427" y="437"/>
                        <a:pt x="1432" y="424"/>
                      </a:cubicBezTo>
                      <a:cubicBezTo>
                        <a:pt x="1455" y="366"/>
                        <a:pt x="1430" y="373"/>
                        <a:pt x="1404" y="356"/>
                      </a:cubicBezTo>
                      <a:cubicBezTo>
                        <a:pt x="1391" y="337"/>
                        <a:pt x="1400" y="318"/>
                        <a:pt x="1380" y="304"/>
                      </a:cubicBezTo>
                      <a:cubicBezTo>
                        <a:pt x="1374" y="286"/>
                        <a:pt x="1376" y="279"/>
                        <a:pt x="1392" y="268"/>
                      </a:cubicBezTo>
                      <a:cubicBezTo>
                        <a:pt x="1401" y="254"/>
                        <a:pt x="1408" y="249"/>
                        <a:pt x="1424" y="244"/>
                      </a:cubicBezTo>
                      <a:cubicBezTo>
                        <a:pt x="1429" y="229"/>
                        <a:pt x="1437" y="218"/>
                        <a:pt x="1444" y="204"/>
                      </a:cubicBezTo>
                      <a:cubicBezTo>
                        <a:pt x="1443" y="195"/>
                        <a:pt x="1444" y="185"/>
                        <a:pt x="1440" y="176"/>
                      </a:cubicBezTo>
                      <a:cubicBezTo>
                        <a:pt x="1433" y="160"/>
                        <a:pt x="1373" y="157"/>
                        <a:pt x="1364" y="156"/>
                      </a:cubicBezTo>
                      <a:cubicBezTo>
                        <a:pt x="1354" y="141"/>
                        <a:pt x="1345" y="134"/>
                        <a:pt x="1328" y="128"/>
                      </a:cubicBezTo>
                      <a:cubicBezTo>
                        <a:pt x="1333" y="109"/>
                        <a:pt x="1337" y="92"/>
                        <a:pt x="1348" y="76"/>
                      </a:cubicBezTo>
                      <a:cubicBezTo>
                        <a:pt x="1354" y="52"/>
                        <a:pt x="1350" y="65"/>
                        <a:pt x="1360" y="36"/>
                      </a:cubicBezTo>
                      <a:cubicBezTo>
                        <a:pt x="1361" y="32"/>
                        <a:pt x="1364" y="24"/>
                        <a:pt x="1364" y="24"/>
                      </a:cubicBezTo>
                      <a:cubicBezTo>
                        <a:pt x="1338" y="15"/>
                        <a:pt x="1308" y="0"/>
                        <a:pt x="1280" y="0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25" name="Freeform 12"/>
                <p:cNvSpPr>
                  <a:spLocks/>
                </p:cNvSpPr>
                <p:nvPr/>
              </p:nvSpPr>
              <p:spPr bwMode="gray">
                <a:xfrm rot="55551">
                  <a:off x="3677" y="2699"/>
                  <a:ext cx="783" cy="456"/>
                </a:xfrm>
                <a:custGeom>
                  <a:avLst/>
                  <a:gdLst>
                    <a:gd name="T0" fmla="*/ 527 w 810"/>
                    <a:gd name="T1" fmla="*/ 11 h 409"/>
                    <a:gd name="T2" fmla="*/ 456 w 810"/>
                    <a:gd name="T3" fmla="*/ 36 h 409"/>
                    <a:gd name="T4" fmla="*/ 445 w 810"/>
                    <a:gd name="T5" fmla="*/ 46 h 409"/>
                    <a:gd name="T6" fmla="*/ 441 w 810"/>
                    <a:gd name="T7" fmla="*/ 61 h 409"/>
                    <a:gd name="T8" fmla="*/ 396 w 810"/>
                    <a:gd name="T9" fmla="*/ 86 h 409"/>
                    <a:gd name="T10" fmla="*/ 336 w 810"/>
                    <a:gd name="T11" fmla="*/ 116 h 409"/>
                    <a:gd name="T12" fmla="*/ 310 w 810"/>
                    <a:gd name="T13" fmla="*/ 145 h 409"/>
                    <a:gd name="T14" fmla="*/ 284 w 810"/>
                    <a:gd name="T15" fmla="*/ 136 h 409"/>
                    <a:gd name="T16" fmla="*/ 276 w 810"/>
                    <a:gd name="T17" fmla="*/ 151 h 409"/>
                    <a:gd name="T18" fmla="*/ 254 w 810"/>
                    <a:gd name="T19" fmla="*/ 165 h 409"/>
                    <a:gd name="T20" fmla="*/ 217 w 810"/>
                    <a:gd name="T21" fmla="*/ 151 h 409"/>
                    <a:gd name="T22" fmla="*/ 194 w 810"/>
                    <a:gd name="T23" fmla="*/ 140 h 409"/>
                    <a:gd name="T24" fmla="*/ 164 w 810"/>
                    <a:gd name="T25" fmla="*/ 151 h 409"/>
                    <a:gd name="T26" fmla="*/ 142 w 810"/>
                    <a:gd name="T27" fmla="*/ 171 h 409"/>
                    <a:gd name="T28" fmla="*/ 30 w 810"/>
                    <a:gd name="T29" fmla="*/ 161 h 409"/>
                    <a:gd name="T30" fmla="*/ 0 w 810"/>
                    <a:gd name="T31" fmla="*/ 185 h 409"/>
                    <a:gd name="T32" fmla="*/ 48 w 810"/>
                    <a:gd name="T33" fmla="*/ 220 h 409"/>
                    <a:gd name="T34" fmla="*/ 86 w 810"/>
                    <a:gd name="T35" fmla="*/ 230 h 409"/>
                    <a:gd name="T36" fmla="*/ 108 w 810"/>
                    <a:gd name="T37" fmla="*/ 240 h 409"/>
                    <a:gd name="T38" fmla="*/ 120 w 810"/>
                    <a:gd name="T39" fmla="*/ 250 h 409"/>
                    <a:gd name="T40" fmla="*/ 142 w 810"/>
                    <a:gd name="T41" fmla="*/ 260 h 409"/>
                    <a:gd name="T42" fmla="*/ 150 w 810"/>
                    <a:gd name="T43" fmla="*/ 290 h 409"/>
                    <a:gd name="T44" fmla="*/ 164 w 810"/>
                    <a:gd name="T45" fmla="*/ 320 h 409"/>
                    <a:gd name="T46" fmla="*/ 172 w 810"/>
                    <a:gd name="T47" fmla="*/ 355 h 409"/>
                    <a:gd name="T48" fmla="*/ 213 w 810"/>
                    <a:gd name="T49" fmla="*/ 394 h 409"/>
                    <a:gd name="T50" fmla="*/ 232 w 810"/>
                    <a:gd name="T51" fmla="*/ 389 h 409"/>
                    <a:gd name="T52" fmla="*/ 236 w 810"/>
                    <a:gd name="T53" fmla="*/ 375 h 409"/>
                    <a:gd name="T54" fmla="*/ 262 w 810"/>
                    <a:gd name="T55" fmla="*/ 334 h 409"/>
                    <a:gd name="T56" fmla="*/ 280 w 810"/>
                    <a:gd name="T57" fmla="*/ 339 h 409"/>
                    <a:gd name="T58" fmla="*/ 303 w 810"/>
                    <a:gd name="T59" fmla="*/ 349 h 409"/>
                    <a:gd name="T60" fmla="*/ 351 w 810"/>
                    <a:gd name="T61" fmla="*/ 324 h 409"/>
                    <a:gd name="T62" fmla="*/ 407 w 810"/>
                    <a:gd name="T63" fmla="*/ 355 h 409"/>
                    <a:gd name="T64" fmla="*/ 430 w 810"/>
                    <a:gd name="T65" fmla="*/ 365 h 409"/>
                    <a:gd name="T66" fmla="*/ 452 w 810"/>
                    <a:gd name="T67" fmla="*/ 394 h 409"/>
                    <a:gd name="T68" fmla="*/ 475 w 810"/>
                    <a:gd name="T69" fmla="*/ 404 h 409"/>
                    <a:gd name="T70" fmla="*/ 508 w 810"/>
                    <a:gd name="T71" fmla="*/ 439 h 409"/>
                    <a:gd name="T72" fmla="*/ 553 w 810"/>
                    <a:gd name="T73" fmla="*/ 498 h 409"/>
                    <a:gd name="T74" fmla="*/ 575 w 810"/>
                    <a:gd name="T75" fmla="*/ 508 h 409"/>
                    <a:gd name="T76" fmla="*/ 639 w 810"/>
                    <a:gd name="T77" fmla="*/ 498 h 409"/>
                    <a:gd name="T78" fmla="*/ 673 w 810"/>
                    <a:gd name="T79" fmla="*/ 478 h 409"/>
                    <a:gd name="T80" fmla="*/ 721 w 810"/>
                    <a:gd name="T81" fmla="*/ 498 h 409"/>
                    <a:gd name="T82" fmla="*/ 743 w 810"/>
                    <a:gd name="T83" fmla="*/ 468 h 409"/>
                    <a:gd name="T84" fmla="*/ 717 w 810"/>
                    <a:gd name="T85" fmla="*/ 419 h 409"/>
                    <a:gd name="T86" fmla="*/ 711 w 810"/>
                    <a:gd name="T87" fmla="*/ 389 h 409"/>
                    <a:gd name="T88" fmla="*/ 687 w 810"/>
                    <a:gd name="T89" fmla="*/ 379 h 409"/>
                    <a:gd name="T90" fmla="*/ 654 w 810"/>
                    <a:gd name="T91" fmla="*/ 359 h 409"/>
                    <a:gd name="T92" fmla="*/ 647 w 810"/>
                    <a:gd name="T93" fmla="*/ 345 h 409"/>
                    <a:gd name="T94" fmla="*/ 654 w 810"/>
                    <a:gd name="T95" fmla="*/ 314 h 409"/>
                    <a:gd name="T96" fmla="*/ 651 w 810"/>
                    <a:gd name="T97" fmla="*/ 270 h 409"/>
                    <a:gd name="T98" fmla="*/ 673 w 810"/>
                    <a:gd name="T99" fmla="*/ 250 h 409"/>
                    <a:gd name="T100" fmla="*/ 673 w 810"/>
                    <a:gd name="T101" fmla="*/ 185 h 409"/>
                    <a:gd name="T102" fmla="*/ 711 w 810"/>
                    <a:gd name="T103" fmla="*/ 151 h 409"/>
                    <a:gd name="T104" fmla="*/ 703 w 810"/>
                    <a:gd name="T105" fmla="*/ 76 h 409"/>
                    <a:gd name="T106" fmla="*/ 639 w 810"/>
                    <a:gd name="T107" fmla="*/ 106 h 409"/>
                    <a:gd name="T108" fmla="*/ 617 w 810"/>
                    <a:gd name="T109" fmla="*/ 145 h 409"/>
                    <a:gd name="T110" fmla="*/ 572 w 810"/>
                    <a:gd name="T111" fmla="*/ 181 h 409"/>
                    <a:gd name="T112" fmla="*/ 505 w 810"/>
                    <a:gd name="T113" fmla="*/ 171 h 409"/>
                    <a:gd name="T114" fmla="*/ 519 w 810"/>
                    <a:gd name="T115" fmla="*/ 106 h 409"/>
                    <a:gd name="T116" fmla="*/ 535 w 810"/>
                    <a:gd name="T117" fmla="*/ 51 h 409"/>
                    <a:gd name="T118" fmla="*/ 542 w 810"/>
                    <a:gd name="T119" fmla="*/ 36 h 409"/>
                    <a:gd name="T120" fmla="*/ 527 w 810"/>
                    <a:gd name="T121" fmla="*/ 11 h 409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0" t="0" r="r" b="b"/>
                  <a:pathLst>
                    <a:path w="810" h="409">
                      <a:moveTo>
                        <a:pt x="564" y="9"/>
                      </a:moveTo>
                      <a:cubicBezTo>
                        <a:pt x="537" y="13"/>
                        <a:pt x="515" y="24"/>
                        <a:pt x="488" y="29"/>
                      </a:cubicBezTo>
                      <a:cubicBezTo>
                        <a:pt x="484" y="32"/>
                        <a:pt x="479" y="33"/>
                        <a:pt x="476" y="37"/>
                      </a:cubicBezTo>
                      <a:cubicBezTo>
                        <a:pt x="473" y="40"/>
                        <a:pt x="475" y="47"/>
                        <a:pt x="472" y="49"/>
                      </a:cubicBezTo>
                      <a:cubicBezTo>
                        <a:pt x="459" y="58"/>
                        <a:pt x="438" y="59"/>
                        <a:pt x="424" y="69"/>
                      </a:cubicBezTo>
                      <a:cubicBezTo>
                        <a:pt x="414" y="99"/>
                        <a:pt x="392" y="90"/>
                        <a:pt x="360" y="93"/>
                      </a:cubicBezTo>
                      <a:cubicBezTo>
                        <a:pt x="355" y="109"/>
                        <a:pt x="346" y="108"/>
                        <a:pt x="332" y="117"/>
                      </a:cubicBezTo>
                      <a:cubicBezTo>
                        <a:pt x="323" y="115"/>
                        <a:pt x="313" y="105"/>
                        <a:pt x="304" y="109"/>
                      </a:cubicBezTo>
                      <a:cubicBezTo>
                        <a:pt x="300" y="111"/>
                        <a:pt x="300" y="118"/>
                        <a:pt x="296" y="121"/>
                      </a:cubicBezTo>
                      <a:cubicBezTo>
                        <a:pt x="289" y="127"/>
                        <a:pt x="279" y="128"/>
                        <a:pt x="272" y="133"/>
                      </a:cubicBezTo>
                      <a:cubicBezTo>
                        <a:pt x="248" y="127"/>
                        <a:pt x="261" y="131"/>
                        <a:pt x="232" y="121"/>
                      </a:cubicBezTo>
                      <a:cubicBezTo>
                        <a:pt x="224" y="118"/>
                        <a:pt x="208" y="113"/>
                        <a:pt x="208" y="113"/>
                      </a:cubicBezTo>
                      <a:cubicBezTo>
                        <a:pt x="202" y="114"/>
                        <a:pt x="183" y="117"/>
                        <a:pt x="176" y="121"/>
                      </a:cubicBezTo>
                      <a:cubicBezTo>
                        <a:pt x="168" y="126"/>
                        <a:pt x="152" y="137"/>
                        <a:pt x="152" y="137"/>
                      </a:cubicBezTo>
                      <a:cubicBezTo>
                        <a:pt x="114" y="135"/>
                        <a:pt x="69" y="141"/>
                        <a:pt x="32" y="129"/>
                      </a:cubicBezTo>
                      <a:cubicBezTo>
                        <a:pt x="3" y="139"/>
                        <a:pt x="13" y="130"/>
                        <a:pt x="0" y="149"/>
                      </a:cubicBezTo>
                      <a:cubicBezTo>
                        <a:pt x="12" y="167"/>
                        <a:pt x="31" y="173"/>
                        <a:pt x="52" y="177"/>
                      </a:cubicBezTo>
                      <a:cubicBezTo>
                        <a:pt x="70" y="186"/>
                        <a:pt x="74" y="197"/>
                        <a:pt x="92" y="185"/>
                      </a:cubicBezTo>
                      <a:cubicBezTo>
                        <a:pt x="100" y="188"/>
                        <a:pt x="109" y="188"/>
                        <a:pt x="116" y="193"/>
                      </a:cubicBezTo>
                      <a:cubicBezTo>
                        <a:pt x="120" y="196"/>
                        <a:pt x="124" y="199"/>
                        <a:pt x="128" y="201"/>
                      </a:cubicBezTo>
                      <a:cubicBezTo>
                        <a:pt x="136" y="204"/>
                        <a:pt x="152" y="209"/>
                        <a:pt x="152" y="209"/>
                      </a:cubicBezTo>
                      <a:cubicBezTo>
                        <a:pt x="155" y="217"/>
                        <a:pt x="157" y="225"/>
                        <a:pt x="160" y="233"/>
                      </a:cubicBezTo>
                      <a:cubicBezTo>
                        <a:pt x="163" y="242"/>
                        <a:pt x="176" y="257"/>
                        <a:pt x="176" y="257"/>
                      </a:cubicBezTo>
                      <a:cubicBezTo>
                        <a:pt x="166" y="273"/>
                        <a:pt x="166" y="279"/>
                        <a:pt x="184" y="285"/>
                      </a:cubicBezTo>
                      <a:cubicBezTo>
                        <a:pt x="193" y="299"/>
                        <a:pt x="212" y="312"/>
                        <a:pt x="228" y="317"/>
                      </a:cubicBezTo>
                      <a:cubicBezTo>
                        <a:pt x="235" y="316"/>
                        <a:pt x="242" y="317"/>
                        <a:pt x="248" y="313"/>
                      </a:cubicBezTo>
                      <a:cubicBezTo>
                        <a:pt x="252" y="311"/>
                        <a:pt x="250" y="305"/>
                        <a:pt x="252" y="301"/>
                      </a:cubicBezTo>
                      <a:cubicBezTo>
                        <a:pt x="266" y="276"/>
                        <a:pt x="262" y="281"/>
                        <a:pt x="280" y="269"/>
                      </a:cubicBezTo>
                      <a:cubicBezTo>
                        <a:pt x="287" y="270"/>
                        <a:pt x="293" y="271"/>
                        <a:pt x="300" y="273"/>
                      </a:cubicBezTo>
                      <a:cubicBezTo>
                        <a:pt x="308" y="275"/>
                        <a:pt x="324" y="281"/>
                        <a:pt x="324" y="281"/>
                      </a:cubicBezTo>
                      <a:cubicBezTo>
                        <a:pt x="343" y="276"/>
                        <a:pt x="358" y="267"/>
                        <a:pt x="376" y="261"/>
                      </a:cubicBezTo>
                      <a:cubicBezTo>
                        <a:pt x="401" y="265"/>
                        <a:pt x="414" y="275"/>
                        <a:pt x="436" y="285"/>
                      </a:cubicBezTo>
                      <a:cubicBezTo>
                        <a:pt x="444" y="288"/>
                        <a:pt x="460" y="293"/>
                        <a:pt x="460" y="293"/>
                      </a:cubicBezTo>
                      <a:cubicBezTo>
                        <a:pt x="468" y="301"/>
                        <a:pt x="473" y="313"/>
                        <a:pt x="484" y="317"/>
                      </a:cubicBezTo>
                      <a:cubicBezTo>
                        <a:pt x="492" y="320"/>
                        <a:pt x="508" y="325"/>
                        <a:pt x="508" y="325"/>
                      </a:cubicBezTo>
                      <a:cubicBezTo>
                        <a:pt x="518" y="340"/>
                        <a:pt x="530" y="343"/>
                        <a:pt x="544" y="353"/>
                      </a:cubicBezTo>
                      <a:cubicBezTo>
                        <a:pt x="557" y="373"/>
                        <a:pt x="572" y="388"/>
                        <a:pt x="592" y="401"/>
                      </a:cubicBezTo>
                      <a:cubicBezTo>
                        <a:pt x="599" y="406"/>
                        <a:pt x="616" y="409"/>
                        <a:pt x="616" y="409"/>
                      </a:cubicBezTo>
                      <a:cubicBezTo>
                        <a:pt x="623" y="408"/>
                        <a:pt x="675" y="403"/>
                        <a:pt x="684" y="401"/>
                      </a:cubicBezTo>
                      <a:cubicBezTo>
                        <a:pt x="697" y="399"/>
                        <a:pt x="707" y="389"/>
                        <a:pt x="720" y="385"/>
                      </a:cubicBezTo>
                      <a:cubicBezTo>
                        <a:pt x="744" y="388"/>
                        <a:pt x="751" y="394"/>
                        <a:pt x="772" y="401"/>
                      </a:cubicBezTo>
                      <a:cubicBezTo>
                        <a:pt x="810" y="392"/>
                        <a:pt x="764" y="398"/>
                        <a:pt x="796" y="377"/>
                      </a:cubicBezTo>
                      <a:cubicBezTo>
                        <a:pt x="803" y="356"/>
                        <a:pt x="787" y="343"/>
                        <a:pt x="768" y="337"/>
                      </a:cubicBezTo>
                      <a:cubicBezTo>
                        <a:pt x="765" y="329"/>
                        <a:pt x="763" y="321"/>
                        <a:pt x="760" y="313"/>
                      </a:cubicBezTo>
                      <a:cubicBezTo>
                        <a:pt x="757" y="305"/>
                        <a:pt x="744" y="308"/>
                        <a:pt x="736" y="305"/>
                      </a:cubicBezTo>
                      <a:cubicBezTo>
                        <a:pt x="722" y="300"/>
                        <a:pt x="712" y="297"/>
                        <a:pt x="700" y="289"/>
                      </a:cubicBezTo>
                      <a:cubicBezTo>
                        <a:pt x="697" y="285"/>
                        <a:pt x="692" y="282"/>
                        <a:pt x="692" y="277"/>
                      </a:cubicBezTo>
                      <a:cubicBezTo>
                        <a:pt x="692" y="269"/>
                        <a:pt x="700" y="253"/>
                        <a:pt x="700" y="253"/>
                      </a:cubicBezTo>
                      <a:cubicBezTo>
                        <a:pt x="697" y="245"/>
                        <a:pt x="686" y="227"/>
                        <a:pt x="696" y="217"/>
                      </a:cubicBezTo>
                      <a:cubicBezTo>
                        <a:pt x="703" y="210"/>
                        <a:pt x="720" y="201"/>
                        <a:pt x="720" y="201"/>
                      </a:cubicBezTo>
                      <a:cubicBezTo>
                        <a:pt x="732" y="183"/>
                        <a:pt x="727" y="169"/>
                        <a:pt x="720" y="149"/>
                      </a:cubicBezTo>
                      <a:cubicBezTo>
                        <a:pt x="739" y="130"/>
                        <a:pt x="752" y="144"/>
                        <a:pt x="760" y="121"/>
                      </a:cubicBezTo>
                      <a:cubicBezTo>
                        <a:pt x="754" y="102"/>
                        <a:pt x="760" y="85"/>
                        <a:pt x="752" y="61"/>
                      </a:cubicBezTo>
                      <a:cubicBezTo>
                        <a:pt x="728" y="66"/>
                        <a:pt x="705" y="71"/>
                        <a:pt x="684" y="85"/>
                      </a:cubicBezTo>
                      <a:cubicBezTo>
                        <a:pt x="675" y="99"/>
                        <a:pt x="674" y="107"/>
                        <a:pt x="660" y="117"/>
                      </a:cubicBezTo>
                      <a:cubicBezTo>
                        <a:pt x="647" y="136"/>
                        <a:pt x="634" y="140"/>
                        <a:pt x="612" y="145"/>
                      </a:cubicBezTo>
                      <a:cubicBezTo>
                        <a:pt x="595" y="133"/>
                        <a:pt x="560" y="139"/>
                        <a:pt x="540" y="137"/>
                      </a:cubicBezTo>
                      <a:cubicBezTo>
                        <a:pt x="543" y="114"/>
                        <a:pt x="544" y="103"/>
                        <a:pt x="556" y="85"/>
                      </a:cubicBezTo>
                      <a:cubicBezTo>
                        <a:pt x="550" y="67"/>
                        <a:pt x="553" y="47"/>
                        <a:pt x="572" y="41"/>
                      </a:cubicBezTo>
                      <a:cubicBezTo>
                        <a:pt x="575" y="37"/>
                        <a:pt x="579" y="34"/>
                        <a:pt x="580" y="29"/>
                      </a:cubicBezTo>
                      <a:cubicBezTo>
                        <a:pt x="581" y="22"/>
                        <a:pt x="573" y="0"/>
                        <a:pt x="564" y="9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26" name="Freeform 13"/>
                <p:cNvSpPr>
                  <a:spLocks/>
                </p:cNvSpPr>
                <p:nvPr/>
              </p:nvSpPr>
              <p:spPr bwMode="gray">
                <a:xfrm rot="55551">
                  <a:off x="4062" y="2050"/>
                  <a:ext cx="808" cy="1126"/>
                </a:xfrm>
                <a:custGeom>
                  <a:avLst/>
                  <a:gdLst>
                    <a:gd name="T0" fmla="*/ 257 w 835"/>
                    <a:gd name="T1" fmla="*/ 0 h 1008"/>
                    <a:gd name="T2" fmla="*/ 209 w 835"/>
                    <a:gd name="T3" fmla="*/ 15 h 1008"/>
                    <a:gd name="T4" fmla="*/ 85 w 835"/>
                    <a:gd name="T5" fmla="*/ 150 h 1008"/>
                    <a:gd name="T6" fmla="*/ 123 w 835"/>
                    <a:gd name="T7" fmla="*/ 315 h 1008"/>
                    <a:gd name="T8" fmla="*/ 85 w 835"/>
                    <a:gd name="T9" fmla="*/ 409 h 1008"/>
                    <a:gd name="T10" fmla="*/ 33 w 835"/>
                    <a:gd name="T11" fmla="*/ 474 h 1008"/>
                    <a:gd name="T12" fmla="*/ 15 w 835"/>
                    <a:gd name="T13" fmla="*/ 564 h 1008"/>
                    <a:gd name="T14" fmla="*/ 59 w 835"/>
                    <a:gd name="T15" fmla="*/ 684 h 1008"/>
                    <a:gd name="T16" fmla="*/ 123 w 835"/>
                    <a:gd name="T17" fmla="*/ 764 h 1008"/>
                    <a:gd name="T18" fmla="*/ 157 w 835"/>
                    <a:gd name="T19" fmla="*/ 784 h 1008"/>
                    <a:gd name="T20" fmla="*/ 141 w 835"/>
                    <a:gd name="T21" fmla="*/ 918 h 1008"/>
                    <a:gd name="T22" fmla="*/ 246 w 835"/>
                    <a:gd name="T23" fmla="*/ 914 h 1008"/>
                    <a:gd name="T24" fmla="*/ 291 w 835"/>
                    <a:gd name="T25" fmla="*/ 859 h 1008"/>
                    <a:gd name="T26" fmla="*/ 321 w 835"/>
                    <a:gd name="T27" fmla="*/ 888 h 1008"/>
                    <a:gd name="T28" fmla="*/ 291 w 835"/>
                    <a:gd name="T29" fmla="*/ 993 h 1008"/>
                    <a:gd name="T30" fmla="*/ 273 w 835"/>
                    <a:gd name="T31" fmla="*/ 1073 h 1008"/>
                    <a:gd name="T32" fmla="*/ 355 w 835"/>
                    <a:gd name="T33" fmla="*/ 1163 h 1008"/>
                    <a:gd name="T34" fmla="*/ 426 w 835"/>
                    <a:gd name="T35" fmla="*/ 1138 h 1008"/>
                    <a:gd name="T36" fmla="*/ 449 w 835"/>
                    <a:gd name="T37" fmla="*/ 1128 h 1008"/>
                    <a:gd name="T38" fmla="*/ 542 w 835"/>
                    <a:gd name="T39" fmla="*/ 1128 h 1008"/>
                    <a:gd name="T40" fmla="*/ 568 w 835"/>
                    <a:gd name="T41" fmla="*/ 1223 h 1008"/>
                    <a:gd name="T42" fmla="*/ 594 w 835"/>
                    <a:gd name="T43" fmla="*/ 1258 h 1008"/>
                    <a:gd name="T44" fmla="*/ 632 w 835"/>
                    <a:gd name="T45" fmla="*/ 1187 h 1008"/>
                    <a:gd name="T46" fmla="*/ 684 w 835"/>
                    <a:gd name="T47" fmla="*/ 1173 h 1008"/>
                    <a:gd name="T48" fmla="*/ 718 w 835"/>
                    <a:gd name="T49" fmla="*/ 1158 h 1008"/>
                    <a:gd name="T50" fmla="*/ 710 w 835"/>
                    <a:gd name="T51" fmla="*/ 1053 h 1008"/>
                    <a:gd name="T52" fmla="*/ 756 w 835"/>
                    <a:gd name="T53" fmla="*/ 1113 h 1008"/>
                    <a:gd name="T54" fmla="*/ 770 w 835"/>
                    <a:gd name="T55" fmla="*/ 1094 h 1008"/>
                    <a:gd name="T56" fmla="*/ 700 w 835"/>
                    <a:gd name="T57" fmla="*/ 853 h 1008"/>
                    <a:gd name="T58" fmla="*/ 647 w 835"/>
                    <a:gd name="T59" fmla="*/ 799 h 1008"/>
                    <a:gd name="T60" fmla="*/ 624 w 835"/>
                    <a:gd name="T61" fmla="*/ 718 h 1008"/>
                    <a:gd name="T62" fmla="*/ 501 w 835"/>
                    <a:gd name="T63" fmla="*/ 629 h 1008"/>
                    <a:gd name="T64" fmla="*/ 434 w 835"/>
                    <a:gd name="T65" fmla="*/ 689 h 1008"/>
                    <a:gd name="T66" fmla="*/ 359 w 835"/>
                    <a:gd name="T67" fmla="*/ 734 h 1008"/>
                    <a:gd name="T68" fmla="*/ 299 w 835"/>
                    <a:gd name="T69" fmla="*/ 714 h 1008"/>
                    <a:gd name="T70" fmla="*/ 287 w 835"/>
                    <a:gd name="T71" fmla="*/ 574 h 1008"/>
                    <a:gd name="T72" fmla="*/ 303 w 835"/>
                    <a:gd name="T73" fmla="*/ 239 h 1008"/>
                    <a:gd name="T74" fmla="*/ 407 w 835"/>
                    <a:gd name="T75" fmla="*/ 140 h 1008"/>
                    <a:gd name="T76" fmla="*/ 377 w 835"/>
                    <a:gd name="T77" fmla="*/ 85 h 1008"/>
                    <a:gd name="T78" fmla="*/ 333 w 835"/>
                    <a:gd name="T79" fmla="*/ 105 h 1008"/>
                    <a:gd name="T80" fmla="*/ 291 w 835"/>
                    <a:gd name="T81" fmla="*/ 20 h 1008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0" t="0" r="r" b="b"/>
                  <a:pathLst>
                    <a:path w="835" h="1008">
                      <a:moveTo>
                        <a:pt x="311" y="16"/>
                      </a:moveTo>
                      <a:cubicBezTo>
                        <a:pt x="300" y="9"/>
                        <a:pt x="275" y="0"/>
                        <a:pt x="275" y="0"/>
                      </a:cubicBezTo>
                      <a:cubicBezTo>
                        <a:pt x="266" y="1"/>
                        <a:pt x="256" y="2"/>
                        <a:pt x="247" y="4"/>
                      </a:cubicBezTo>
                      <a:cubicBezTo>
                        <a:pt x="239" y="6"/>
                        <a:pt x="223" y="12"/>
                        <a:pt x="223" y="12"/>
                      </a:cubicBezTo>
                      <a:cubicBezTo>
                        <a:pt x="201" y="78"/>
                        <a:pt x="149" y="71"/>
                        <a:pt x="87" y="80"/>
                      </a:cubicBezTo>
                      <a:cubicBezTo>
                        <a:pt x="82" y="96"/>
                        <a:pt x="86" y="105"/>
                        <a:pt x="91" y="120"/>
                      </a:cubicBezTo>
                      <a:cubicBezTo>
                        <a:pt x="87" y="156"/>
                        <a:pt x="87" y="185"/>
                        <a:pt x="99" y="220"/>
                      </a:cubicBezTo>
                      <a:cubicBezTo>
                        <a:pt x="100" y="223"/>
                        <a:pt x="126" y="241"/>
                        <a:pt x="131" y="252"/>
                      </a:cubicBezTo>
                      <a:cubicBezTo>
                        <a:pt x="134" y="260"/>
                        <a:pt x="139" y="276"/>
                        <a:pt x="139" y="276"/>
                      </a:cubicBezTo>
                      <a:cubicBezTo>
                        <a:pt x="131" y="316"/>
                        <a:pt x="120" y="309"/>
                        <a:pt x="91" y="328"/>
                      </a:cubicBezTo>
                      <a:cubicBezTo>
                        <a:pt x="83" y="340"/>
                        <a:pt x="88" y="357"/>
                        <a:pt x="79" y="368"/>
                      </a:cubicBezTo>
                      <a:cubicBezTo>
                        <a:pt x="75" y="373"/>
                        <a:pt x="42" y="379"/>
                        <a:pt x="35" y="380"/>
                      </a:cubicBezTo>
                      <a:cubicBezTo>
                        <a:pt x="20" y="390"/>
                        <a:pt x="13" y="407"/>
                        <a:pt x="7" y="424"/>
                      </a:cubicBezTo>
                      <a:cubicBezTo>
                        <a:pt x="20" y="464"/>
                        <a:pt x="0" y="402"/>
                        <a:pt x="15" y="452"/>
                      </a:cubicBezTo>
                      <a:cubicBezTo>
                        <a:pt x="17" y="460"/>
                        <a:pt x="23" y="476"/>
                        <a:pt x="23" y="476"/>
                      </a:cubicBezTo>
                      <a:cubicBezTo>
                        <a:pt x="27" y="511"/>
                        <a:pt x="27" y="536"/>
                        <a:pt x="63" y="548"/>
                      </a:cubicBezTo>
                      <a:cubicBezTo>
                        <a:pt x="87" y="572"/>
                        <a:pt x="67" y="605"/>
                        <a:pt x="99" y="616"/>
                      </a:cubicBezTo>
                      <a:cubicBezTo>
                        <a:pt x="110" y="615"/>
                        <a:pt x="120" y="614"/>
                        <a:pt x="131" y="612"/>
                      </a:cubicBezTo>
                      <a:cubicBezTo>
                        <a:pt x="139" y="610"/>
                        <a:pt x="155" y="604"/>
                        <a:pt x="155" y="604"/>
                      </a:cubicBezTo>
                      <a:cubicBezTo>
                        <a:pt x="173" y="609"/>
                        <a:pt x="192" y="612"/>
                        <a:pt x="167" y="628"/>
                      </a:cubicBezTo>
                      <a:cubicBezTo>
                        <a:pt x="153" y="648"/>
                        <a:pt x="155" y="669"/>
                        <a:pt x="147" y="692"/>
                      </a:cubicBezTo>
                      <a:cubicBezTo>
                        <a:pt x="148" y="707"/>
                        <a:pt x="141" y="725"/>
                        <a:pt x="151" y="736"/>
                      </a:cubicBezTo>
                      <a:cubicBezTo>
                        <a:pt x="160" y="745"/>
                        <a:pt x="241" y="736"/>
                        <a:pt x="243" y="736"/>
                      </a:cubicBezTo>
                      <a:cubicBezTo>
                        <a:pt x="250" y="735"/>
                        <a:pt x="258" y="737"/>
                        <a:pt x="263" y="732"/>
                      </a:cubicBezTo>
                      <a:cubicBezTo>
                        <a:pt x="269" y="726"/>
                        <a:pt x="268" y="702"/>
                        <a:pt x="279" y="696"/>
                      </a:cubicBezTo>
                      <a:cubicBezTo>
                        <a:pt x="289" y="691"/>
                        <a:pt x="301" y="691"/>
                        <a:pt x="311" y="688"/>
                      </a:cubicBezTo>
                      <a:cubicBezTo>
                        <a:pt x="317" y="669"/>
                        <a:pt x="328" y="672"/>
                        <a:pt x="347" y="668"/>
                      </a:cubicBezTo>
                      <a:cubicBezTo>
                        <a:pt x="372" y="676"/>
                        <a:pt x="360" y="700"/>
                        <a:pt x="343" y="712"/>
                      </a:cubicBezTo>
                      <a:cubicBezTo>
                        <a:pt x="331" y="729"/>
                        <a:pt x="333" y="748"/>
                        <a:pt x="315" y="760"/>
                      </a:cubicBezTo>
                      <a:cubicBezTo>
                        <a:pt x="314" y="772"/>
                        <a:pt x="315" y="785"/>
                        <a:pt x="311" y="796"/>
                      </a:cubicBezTo>
                      <a:cubicBezTo>
                        <a:pt x="308" y="805"/>
                        <a:pt x="295" y="820"/>
                        <a:pt x="295" y="820"/>
                      </a:cubicBezTo>
                      <a:cubicBezTo>
                        <a:pt x="294" y="833"/>
                        <a:pt x="291" y="847"/>
                        <a:pt x="291" y="860"/>
                      </a:cubicBezTo>
                      <a:cubicBezTo>
                        <a:pt x="291" y="895"/>
                        <a:pt x="347" y="896"/>
                        <a:pt x="371" y="904"/>
                      </a:cubicBezTo>
                      <a:cubicBezTo>
                        <a:pt x="374" y="913"/>
                        <a:pt x="372" y="926"/>
                        <a:pt x="379" y="932"/>
                      </a:cubicBezTo>
                      <a:cubicBezTo>
                        <a:pt x="385" y="937"/>
                        <a:pt x="403" y="940"/>
                        <a:pt x="403" y="940"/>
                      </a:cubicBezTo>
                      <a:lnTo>
                        <a:pt x="455" y="912"/>
                      </a:lnTo>
                      <a:cubicBezTo>
                        <a:pt x="455" y="912"/>
                        <a:pt x="455" y="912"/>
                        <a:pt x="455" y="912"/>
                      </a:cubicBezTo>
                      <a:cubicBezTo>
                        <a:pt x="463" y="909"/>
                        <a:pt x="479" y="904"/>
                        <a:pt x="479" y="904"/>
                      </a:cubicBezTo>
                      <a:cubicBezTo>
                        <a:pt x="500" y="909"/>
                        <a:pt x="517" y="908"/>
                        <a:pt x="535" y="896"/>
                      </a:cubicBezTo>
                      <a:cubicBezTo>
                        <a:pt x="550" y="898"/>
                        <a:pt x="569" y="893"/>
                        <a:pt x="579" y="904"/>
                      </a:cubicBezTo>
                      <a:cubicBezTo>
                        <a:pt x="587" y="914"/>
                        <a:pt x="590" y="939"/>
                        <a:pt x="599" y="952"/>
                      </a:cubicBezTo>
                      <a:cubicBezTo>
                        <a:pt x="594" y="971"/>
                        <a:pt x="590" y="967"/>
                        <a:pt x="607" y="980"/>
                      </a:cubicBezTo>
                      <a:cubicBezTo>
                        <a:pt x="615" y="986"/>
                        <a:pt x="631" y="996"/>
                        <a:pt x="631" y="996"/>
                      </a:cubicBezTo>
                      <a:cubicBezTo>
                        <a:pt x="632" y="1000"/>
                        <a:pt x="631" y="1008"/>
                        <a:pt x="635" y="1008"/>
                      </a:cubicBezTo>
                      <a:cubicBezTo>
                        <a:pt x="642" y="1008"/>
                        <a:pt x="647" y="982"/>
                        <a:pt x="647" y="980"/>
                      </a:cubicBezTo>
                      <a:cubicBezTo>
                        <a:pt x="652" y="961"/>
                        <a:pt x="656" y="957"/>
                        <a:pt x="675" y="952"/>
                      </a:cubicBezTo>
                      <a:cubicBezTo>
                        <a:pt x="694" y="957"/>
                        <a:pt x="701" y="970"/>
                        <a:pt x="719" y="964"/>
                      </a:cubicBezTo>
                      <a:cubicBezTo>
                        <a:pt x="721" y="957"/>
                        <a:pt x="724" y="944"/>
                        <a:pt x="731" y="940"/>
                      </a:cubicBezTo>
                      <a:cubicBezTo>
                        <a:pt x="738" y="936"/>
                        <a:pt x="747" y="935"/>
                        <a:pt x="755" y="932"/>
                      </a:cubicBezTo>
                      <a:cubicBezTo>
                        <a:pt x="759" y="931"/>
                        <a:pt x="767" y="928"/>
                        <a:pt x="767" y="928"/>
                      </a:cubicBezTo>
                      <a:cubicBezTo>
                        <a:pt x="786" y="899"/>
                        <a:pt x="745" y="886"/>
                        <a:pt x="727" y="868"/>
                      </a:cubicBezTo>
                      <a:cubicBezTo>
                        <a:pt x="732" y="846"/>
                        <a:pt x="738" y="849"/>
                        <a:pt x="759" y="844"/>
                      </a:cubicBezTo>
                      <a:cubicBezTo>
                        <a:pt x="778" y="850"/>
                        <a:pt x="772" y="859"/>
                        <a:pt x="783" y="872"/>
                      </a:cubicBezTo>
                      <a:cubicBezTo>
                        <a:pt x="790" y="880"/>
                        <a:pt x="800" y="885"/>
                        <a:pt x="807" y="892"/>
                      </a:cubicBezTo>
                      <a:cubicBezTo>
                        <a:pt x="814" y="891"/>
                        <a:pt x="822" y="893"/>
                        <a:pt x="827" y="888"/>
                      </a:cubicBezTo>
                      <a:cubicBezTo>
                        <a:pt x="830" y="885"/>
                        <a:pt x="823" y="880"/>
                        <a:pt x="823" y="876"/>
                      </a:cubicBezTo>
                      <a:cubicBezTo>
                        <a:pt x="818" y="821"/>
                        <a:pt x="835" y="785"/>
                        <a:pt x="783" y="768"/>
                      </a:cubicBezTo>
                      <a:cubicBezTo>
                        <a:pt x="773" y="737"/>
                        <a:pt x="765" y="711"/>
                        <a:pt x="747" y="684"/>
                      </a:cubicBezTo>
                      <a:cubicBezTo>
                        <a:pt x="742" y="676"/>
                        <a:pt x="723" y="668"/>
                        <a:pt x="723" y="668"/>
                      </a:cubicBezTo>
                      <a:cubicBezTo>
                        <a:pt x="715" y="656"/>
                        <a:pt x="691" y="640"/>
                        <a:pt x="691" y="640"/>
                      </a:cubicBezTo>
                      <a:cubicBezTo>
                        <a:pt x="686" y="625"/>
                        <a:pt x="676" y="623"/>
                        <a:pt x="671" y="608"/>
                      </a:cubicBezTo>
                      <a:cubicBezTo>
                        <a:pt x="670" y="597"/>
                        <a:pt x="672" y="585"/>
                        <a:pt x="667" y="576"/>
                      </a:cubicBezTo>
                      <a:cubicBezTo>
                        <a:pt x="663" y="570"/>
                        <a:pt x="627" y="547"/>
                        <a:pt x="619" y="544"/>
                      </a:cubicBezTo>
                      <a:cubicBezTo>
                        <a:pt x="591" y="523"/>
                        <a:pt x="569" y="511"/>
                        <a:pt x="535" y="504"/>
                      </a:cubicBezTo>
                      <a:cubicBezTo>
                        <a:pt x="506" y="506"/>
                        <a:pt x="468" y="503"/>
                        <a:pt x="443" y="520"/>
                      </a:cubicBezTo>
                      <a:cubicBezTo>
                        <a:pt x="453" y="549"/>
                        <a:pt x="444" y="539"/>
                        <a:pt x="463" y="552"/>
                      </a:cubicBezTo>
                      <a:cubicBezTo>
                        <a:pt x="458" y="577"/>
                        <a:pt x="446" y="584"/>
                        <a:pt x="423" y="592"/>
                      </a:cubicBezTo>
                      <a:cubicBezTo>
                        <a:pt x="410" y="591"/>
                        <a:pt x="396" y="592"/>
                        <a:pt x="383" y="588"/>
                      </a:cubicBezTo>
                      <a:cubicBezTo>
                        <a:pt x="366" y="582"/>
                        <a:pt x="380" y="552"/>
                        <a:pt x="355" y="544"/>
                      </a:cubicBezTo>
                      <a:cubicBezTo>
                        <a:pt x="333" y="548"/>
                        <a:pt x="326" y="551"/>
                        <a:pt x="319" y="572"/>
                      </a:cubicBezTo>
                      <a:cubicBezTo>
                        <a:pt x="303" y="567"/>
                        <a:pt x="300" y="560"/>
                        <a:pt x="295" y="544"/>
                      </a:cubicBezTo>
                      <a:cubicBezTo>
                        <a:pt x="298" y="516"/>
                        <a:pt x="302" y="488"/>
                        <a:pt x="307" y="460"/>
                      </a:cubicBezTo>
                      <a:cubicBezTo>
                        <a:pt x="309" y="447"/>
                        <a:pt x="315" y="420"/>
                        <a:pt x="315" y="420"/>
                      </a:cubicBezTo>
                      <a:cubicBezTo>
                        <a:pt x="315" y="419"/>
                        <a:pt x="298" y="241"/>
                        <a:pt x="323" y="192"/>
                      </a:cubicBezTo>
                      <a:cubicBezTo>
                        <a:pt x="336" y="166"/>
                        <a:pt x="371" y="133"/>
                        <a:pt x="399" y="124"/>
                      </a:cubicBezTo>
                      <a:cubicBezTo>
                        <a:pt x="411" y="120"/>
                        <a:pt x="435" y="112"/>
                        <a:pt x="435" y="112"/>
                      </a:cubicBezTo>
                      <a:cubicBezTo>
                        <a:pt x="439" y="101"/>
                        <a:pt x="440" y="84"/>
                        <a:pt x="427" y="76"/>
                      </a:cubicBezTo>
                      <a:cubicBezTo>
                        <a:pt x="420" y="72"/>
                        <a:pt x="411" y="71"/>
                        <a:pt x="403" y="68"/>
                      </a:cubicBezTo>
                      <a:cubicBezTo>
                        <a:pt x="399" y="67"/>
                        <a:pt x="391" y="64"/>
                        <a:pt x="391" y="64"/>
                      </a:cubicBezTo>
                      <a:cubicBezTo>
                        <a:pt x="378" y="68"/>
                        <a:pt x="355" y="84"/>
                        <a:pt x="355" y="84"/>
                      </a:cubicBezTo>
                      <a:cubicBezTo>
                        <a:pt x="351" y="81"/>
                        <a:pt x="344" y="81"/>
                        <a:pt x="343" y="76"/>
                      </a:cubicBezTo>
                      <a:cubicBezTo>
                        <a:pt x="337" y="49"/>
                        <a:pt x="363" y="16"/>
                        <a:pt x="311" y="16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27" name="Freeform 14"/>
                <p:cNvSpPr>
                  <a:spLocks/>
                </p:cNvSpPr>
                <p:nvPr/>
              </p:nvSpPr>
              <p:spPr bwMode="gray">
                <a:xfrm rot="55551">
                  <a:off x="4204" y="1523"/>
                  <a:ext cx="549" cy="649"/>
                </a:xfrm>
                <a:custGeom>
                  <a:avLst/>
                  <a:gdLst>
                    <a:gd name="T0" fmla="*/ 249 w 568"/>
                    <a:gd name="T1" fmla="*/ 20 h 581"/>
                    <a:gd name="T2" fmla="*/ 189 w 568"/>
                    <a:gd name="T3" fmla="*/ 35 h 581"/>
                    <a:gd name="T4" fmla="*/ 123 w 568"/>
                    <a:gd name="T5" fmla="*/ 40 h 581"/>
                    <a:gd name="T6" fmla="*/ 93 w 568"/>
                    <a:gd name="T7" fmla="*/ 109 h 581"/>
                    <a:gd name="T8" fmla="*/ 59 w 568"/>
                    <a:gd name="T9" fmla="*/ 160 h 581"/>
                    <a:gd name="T10" fmla="*/ 100 w 568"/>
                    <a:gd name="T11" fmla="*/ 269 h 581"/>
                    <a:gd name="T12" fmla="*/ 115 w 568"/>
                    <a:gd name="T13" fmla="*/ 299 h 581"/>
                    <a:gd name="T14" fmla="*/ 59 w 568"/>
                    <a:gd name="T15" fmla="*/ 360 h 581"/>
                    <a:gd name="T16" fmla="*/ 37 w 568"/>
                    <a:gd name="T17" fmla="*/ 399 h 581"/>
                    <a:gd name="T18" fmla="*/ 33 w 568"/>
                    <a:gd name="T19" fmla="*/ 445 h 581"/>
                    <a:gd name="T20" fmla="*/ 11 w 568"/>
                    <a:gd name="T21" fmla="*/ 455 h 581"/>
                    <a:gd name="T22" fmla="*/ 21 w 568"/>
                    <a:gd name="T23" fmla="*/ 529 h 581"/>
                    <a:gd name="T24" fmla="*/ 29 w 568"/>
                    <a:gd name="T25" fmla="*/ 544 h 581"/>
                    <a:gd name="T26" fmla="*/ 63 w 568"/>
                    <a:gd name="T27" fmla="*/ 569 h 581"/>
                    <a:gd name="T28" fmla="*/ 89 w 568"/>
                    <a:gd name="T29" fmla="*/ 629 h 581"/>
                    <a:gd name="T30" fmla="*/ 126 w 568"/>
                    <a:gd name="T31" fmla="*/ 609 h 581"/>
                    <a:gd name="T32" fmla="*/ 189 w 568"/>
                    <a:gd name="T33" fmla="*/ 639 h 581"/>
                    <a:gd name="T34" fmla="*/ 205 w 568"/>
                    <a:gd name="T35" fmla="*/ 704 h 581"/>
                    <a:gd name="T36" fmla="*/ 265 w 568"/>
                    <a:gd name="T37" fmla="*/ 694 h 581"/>
                    <a:gd name="T38" fmla="*/ 291 w 568"/>
                    <a:gd name="T39" fmla="*/ 714 h 581"/>
                    <a:gd name="T40" fmla="*/ 335 w 568"/>
                    <a:gd name="T41" fmla="*/ 674 h 581"/>
                    <a:gd name="T42" fmla="*/ 343 w 568"/>
                    <a:gd name="T43" fmla="*/ 659 h 581"/>
                    <a:gd name="T44" fmla="*/ 347 w 568"/>
                    <a:gd name="T45" fmla="*/ 619 h 581"/>
                    <a:gd name="T46" fmla="*/ 384 w 568"/>
                    <a:gd name="T47" fmla="*/ 609 h 581"/>
                    <a:gd name="T48" fmla="*/ 414 w 568"/>
                    <a:gd name="T49" fmla="*/ 624 h 581"/>
                    <a:gd name="T50" fmla="*/ 470 w 568"/>
                    <a:gd name="T51" fmla="*/ 548 h 581"/>
                    <a:gd name="T52" fmla="*/ 492 w 568"/>
                    <a:gd name="T53" fmla="*/ 499 h 581"/>
                    <a:gd name="T54" fmla="*/ 504 w 568"/>
                    <a:gd name="T55" fmla="*/ 489 h 581"/>
                    <a:gd name="T56" fmla="*/ 504 w 568"/>
                    <a:gd name="T57" fmla="*/ 459 h 581"/>
                    <a:gd name="T58" fmla="*/ 481 w 568"/>
                    <a:gd name="T59" fmla="*/ 449 h 581"/>
                    <a:gd name="T60" fmla="*/ 444 w 568"/>
                    <a:gd name="T61" fmla="*/ 455 h 581"/>
                    <a:gd name="T62" fmla="*/ 418 w 568"/>
                    <a:gd name="T63" fmla="*/ 374 h 581"/>
                    <a:gd name="T64" fmla="*/ 410 w 568"/>
                    <a:gd name="T65" fmla="*/ 344 h 581"/>
                    <a:gd name="T66" fmla="*/ 406 w 568"/>
                    <a:gd name="T67" fmla="*/ 330 h 581"/>
                    <a:gd name="T68" fmla="*/ 448 w 568"/>
                    <a:gd name="T69" fmla="*/ 214 h 581"/>
                    <a:gd name="T70" fmla="*/ 500 w 568"/>
                    <a:gd name="T71" fmla="*/ 249 h 581"/>
                    <a:gd name="T72" fmla="*/ 526 w 568"/>
                    <a:gd name="T73" fmla="*/ 245 h 581"/>
                    <a:gd name="T74" fmla="*/ 518 w 568"/>
                    <a:gd name="T75" fmla="*/ 214 h 581"/>
                    <a:gd name="T76" fmla="*/ 515 w 568"/>
                    <a:gd name="T77" fmla="*/ 160 h 581"/>
                    <a:gd name="T78" fmla="*/ 459 w 568"/>
                    <a:gd name="T79" fmla="*/ 120 h 581"/>
                    <a:gd name="T80" fmla="*/ 403 w 568"/>
                    <a:gd name="T81" fmla="*/ 79 h 581"/>
                    <a:gd name="T82" fmla="*/ 373 w 568"/>
                    <a:gd name="T83" fmla="*/ 45 h 581"/>
                    <a:gd name="T84" fmla="*/ 343 w 568"/>
                    <a:gd name="T85" fmla="*/ 20 h 581"/>
                    <a:gd name="T86" fmla="*/ 321 w 568"/>
                    <a:gd name="T87" fmla="*/ 0 h 581"/>
                    <a:gd name="T88" fmla="*/ 261 w 568"/>
                    <a:gd name="T89" fmla="*/ 20 h 581"/>
                    <a:gd name="T90" fmla="*/ 246 w 568"/>
                    <a:gd name="T91" fmla="*/ 25 h 581"/>
                    <a:gd name="T92" fmla="*/ 235 w 568"/>
                    <a:gd name="T93" fmla="*/ 30 h 581"/>
                    <a:gd name="T94" fmla="*/ 249 w 568"/>
                    <a:gd name="T95" fmla="*/ 20 h 581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0" t="0" r="r" b="b"/>
                  <a:pathLst>
                    <a:path w="568" h="581">
                      <a:moveTo>
                        <a:pt x="267" y="16"/>
                      </a:moveTo>
                      <a:cubicBezTo>
                        <a:pt x="245" y="20"/>
                        <a:pt x="226" y="25"/>
                        <a:pt x="203" y="28"/>
                      </a:cubicBezTo>
                      <a:cubicBezTo>
                        <a:pt x="181" y="35"/>
                        <a:pt x="155" y="29"/>
                        <a:pt x="131" y="32"/>
                      </a:cubicBezTo>
                      <a:cubicBezTo>
                        <a:pt x="118" y="52"/>
                        <a:pt x="123" y="80"/>
                        <a:pt x="99" y="88"/>
                      </a:cubicBezTo>
                      <a:cubicBezTo>
                        <a:pt x="83" y="104"/>
                        <a:pt x="71" y="105"/>
                        <a:pt x="63" y="128"/>
                      </a:cubicBezTo>
                      <a:cubicBezTo>
                        <a:pt x="68" y="163"/>
                        <a:pt x="70" y="204"/>
                        <a:pt x="107" y="216"/>
                      </a:cubicBezTo>
                      <a:cubicBezTo>
                        <a:pt x="112" y="224"/>
                        <a:pt x="125" y="231"/>
                        <a:pt x="123" y="240"/>
                      </a:cubicBezTo>
                      <a:cubicBezTo>
                        <a:pt x="114" y="284"/>
                        <a:pt x="107" y="282"/>
                        <a:pt x="63" y="288"/>
                      </a:cubicBezTo>
                      <a:cubicBezTo>
                        <a:pt x="54" y="302"/>
                        <a:pt x="53" y="310"/>
                        <a:pt x="39" y="320"/>
                      </a:cubicBezTo>
                      <a:cubicBezTo>
                        <a:pt x="36" y="330"/>
                        <a:pt x="41" y="352"/>
                        <a:pt x="35" y="356"/>
                      </a:cubicBezTo>
                      <a:cubicBezTo>
                        <a:pt x="28" y="361"/>
                        <a:pt x="11" y="364"/>
                        <a:pt x="11" y="364"/>
                      </a:cubicBezTo>
                      <a:cubicBezTo>
                        <a:pt x="0" y="397"/>
                        <a:pt x="2" y="393"/>
                        <a:pt x="23" y="424"/>
                      </a:cubicBezTo>
                      <a:cubicBezTo>
                        <a:pt x="26" y="428"/>
                        <a:pt x="26" y="434"/>
                        <a:pt x="31" y="436"/>
                      </a:cubicBezTo>
                      <a:cubicBezTo>
                        <a:pt x="44" y="440"/>
                        <a:pt x="67" y="456"/>
                        <a:pt x="67" y="456"/>
                      </a:cubicBezTo>
                      <a:cubicBezTo>
                        <a:pt x="74" y="477"/>
                        <a:pt x="75" y="491"/>
                        <a:pt x="95" y="504"/>
                      </a:cubicBezTo>
                      <a:cubicBezTo>
                        <a:pt x="110" y="500"/>
                        <a:pt x="120" y="493"/>
                        <a:pt x="135" y="488"/>
                      </a:cubicBezTo>
                      <a:cubicBezTo>
                        <a:pt x="158" y="496"/>
                        <a:pt x="180" y="507"/>
                        <a:pt x="203" y="512"/>
                      </a:cubicBezTo>
                      <a:cubicBezTo>
                        <a:pt x="198" y="533"/>
                        <a:pt x="197" y="557"/>
                        <a:pt x="219" y="564"/>
                      </a:cubicBezTo>
                      <a:cubicBezTo>
                        <a:pt x="251" y="556"/>
                        <a:pt x="242" y="551"/>
                        <a:pt x="283" y="556"/>
                      </a:cubicBezTo>
                      <a:cubicBezTo>
                        <a:pt x="310" y="565"/>
                        <a:pt x="284" y="581"/>
                        <a:pt x="311" y="572"/>
                      </a:cubicBezTo>
                      <a:cubicBezTo>
                        <a:pt x="325" y="558"/>
                        <a:pt x="340" y="546"/>
                        <a:pt x="359" y="540"/>
                      </a:cubicBezTo>
                      <a:cubicBezTo>
                        <a:pt x="362" y="536"/>
                        <a:pt x="366" y="533"/>
                        <a:pt x="367" y="528"/>
                      </a:cubicBezTo>
                      <a:cubicBezTo>
                        <a:pt x="370" y="518"/>
                        <a:pt x="366" y="505"/>
                        <a:pt x="371" y="496"/>
                      </a:cubicBezTo>
                      <a:cubicBezTo>
                        <a:pt x="372" y="494"/>
                        <a:pt x="404" y="489"/>
                        <a:pt x="411" y="488"/>
                      </a:cubicBezTo>
                      <a:cubicBezTo>
                        <a:pt x="444" y="496"/>
                        <a:pt x="417" y="509"/>
                        <a:pt x="443" y="500"/>
                      </a:cubicBezTo>
                      <a:cubicBezTo>
                        <a:pt x="452" y="465"/>
                        <a:pt x="479" y="464"/>
                        <a:pt x="503" y="440"/>
                      </a:cubicBezTo>
                      <a:cubicBezTo>
                        <a:pt x="488" y="418"/>
                        <a:pt x="507" y="413"/>
                        <a:pt x="527" y="400"/>
                      </a:cubicBezTo>
                      <a:cubicBezTo>
                        <a:pt x="531" y="397"/>
                        <a:pt x="539" y="392"/>
                        <a:pt x="539" y="392"/>
                      </a:cubicBezTo>
                      <a:cubicBezTo>
                        <a:pt x="541" y="386"/>
                        <a:pt x="548" y="374"/>
                        <a:pt x="539" y="368"/>
                      </a:cubicBezTo>
                      <a:cubicBezTo>
                        <a:pt x="532" y="363"/>
                        <a:pt x="515" y="360"/>
                        <a:pt x="515" y="360"/>
                      </a:cubicBezTo>
                      <a:cubicBezTo>
                        <a:pt x="486" y="370"/>
                        <a:pt x="499" y="370"/>
                        <a:pt x="475" y="364"/>
                      </a:cubicBezTo>
                      <a:cubicBezTo>
                        <a:pt x="460" y="342"/>
                        <a:pt x="454" y="325"/>
                        <a:pt x="447" y="300"/>
                      </a:cubicBezTo>
                      <a:cubicBezTo>
                        <a:pt x="445" y="292"/>
                        <a:pt x="442" y="284"/>
                        <a:pt x="439" y="276"/>
                      </a:cubicBezTo>
                      <a:cubicBezTo>
                        <a:pt x="438" y="272"/>
                        <a:pt x="435" y="264"/>
                        <a:pt x="435" y="264"/>
                      </a:cubicBezTo>
                      <a:cubicBezTo>
                        <a:pt x="438" y="227"/>
                        <a:pt x="439" y="185"/>
                        <a:pt x="479" y="172"/>
                      </a:cubicBezTo>
                      <a:cubicBezTo>
                        <a:pt x="500" y="177"/>
                        <a:pt x="516" y="190"/>
                        <a:pt x="535" y="200"/>
                      </a:cubicBezTo>
                      <a:cubicBezTo>
                        <a:pt x="544" y="199"/>
                        <a:pt x="558" y="204"/>
                        <a:pt x="563" y="196"/>
                      </a:cubicBezTo>
                      <a:cubicBezTo>
                        <a:pt x="568" y="189"/>
                        <a:pt x="555" y="172"/>
                        <a:pt x="555" y="172"/>
                      </a:cubicBezTo>
                      <a:cubicBezTo>
                        <a:pt x="554" y="157"/>
                        <a:pt x="557" y="141"/>
                        <a:pt x="551" y="128"/>
                      </a:cubicBezTo>
                      <a:cubicBezTo>
                        <a:pt x="545" y="116"/>
                        <a:pt x="503" y="100"/>
                        <a:pt x="491" y="96"/>
                      </a:cubicBezTo>
                      <a:cubicBezTo>
                        <a:pt x="474" y="70"/>
                        <a:pt x="459" y="68"/>
                        <a:pt x="431" y="64"/>
                      </a:cubicBezTo>
                      <a:cubicBezTo>
                        <a:pt x="423" y="52"/>
                        <a:pt x="399" y="36"/>
                        <a:pt x="399" y="36"/>
                      </a:cubicBezTo>
                      <a:cubicBezTo>
                        <a:pt x="386" y="17"/>
                        <a:pt x="396" y="26"/>
                        <a:pt x="367" y="16"/>
                      </a:cubicBezTo>
                      <a:cubicBezTo>
                        <a:pt x="358" y="13"/>
                        <a:pt x="343" y="0"/>
                        <a:pt x="343" y="0"/>
                      </a:cubicBezTo>
                      <a:cubicBezTo>
                        <a:pt x="303" y="4"/>
                        <a:pt x="307" y="4"/>
                        <a:pt x="279" y="16"/>
                      </a:cubicBezTo>
                      <a:cubicBezTo>
                        <a:pt x="274" y="18"/>
                        <a:pt x="268" y="18"/>
                        <a:pt x="263" y="20"/>
                      </a:cubicBezTo>
                      <a:cubicBezTo>
                        <a:pt x="259" y="21"/>
                        <a:pt x="248" y="27"/>
                        <a:pt x="251" y="24"/>
                      </a:cubicBezTo>
                      <a:cubicBezTo>
                        <a:pt x="255" y="20"/>
                        <a:pt x="262" y="19"/>
                        <a:pt x="267" y="16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28" name="Freeform 15"/>
                <p:cNvSpPr>
                  <a:spLocks/>
                </p:cNvSpPr>
                <p:nvPr/>
              </p:nvSpPr>
              <p:spPr bwMode="gray">
                <a:xfrm rot="55551">
                  <a:off x="4425" y="3047"/>
                  <a:ext cx="194" cy="158"/>
                </a:xfrm>
                <a:custGeom>
                  <a:avLst/>
                  <a:gdLst>
                    <a:gd name="T0" fmla="*/ 98 w 200"/>
                    <a:gd name="T1" fmla="*/ 131 h 141"/>
                    <a:gd name="T2" fmla="*/ 136 w 200"/>
                    <a:gd name="T3" fmla="*/ 81 h 141"/>
                    <a:gd name="T4" fmla="*/ 154 w 200"/>
                    <a:gd name="T5" fmla="*/ 61 h 141"/>
                    <a:gd name="T6" fmla="*/ 188 w 200"/>
                    <a:gd name="T7" fmla="*/ 30 h 141"/>
                    <a:gd name="T8" fmla="*/ 162 w 200"/>
                    <a:gd name="T9" fmla="*/ 0 h 141"/>
                    <a:gd name="T10" fmla="*/ 52 w 200"/>
                    <a:gd name="T11" fmla="*/ 20 h 141"/>
                    <a:gd name="T12" fmla="*/ 4 w 200"/>
                    <a:gd name="T13" fmla="*/ 50 h 141"/>
                    <a:gd name="T14" fmla="*/ 0 w 200"/>
                    <a:gd name="T15" fmla="*/ 111 h 141"/>
                    <a:gd name="T16" fmla="*/ 46 w 200"/>
                    <a:gd name="T17" fmla="*/ 146 h 141"/>
                    <a:gd name="T18" fmla="*/ 86 w 200"/>
                    <a:gd name="T19" fmla="*/ 170 h 141"/>
                    <a:gd name="T20" fmla="*/ 98 w 200"/>
                    <a:gd name="T21" fmla="*/ 131 h 141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200" h="141">
                      <a:moveTo>
                        <a:pt x="104" y="104"/>
                      </a:moveTo>
                      <a:cubicBezTo>
                        <a:pt x="110" y="86"/>
                        <a:pt x="129" y="74"/>
                        <a:pt x="144" y="64"/>
                      </a:cubicBezTo>
                      <a:cubicBezTo>
                        <a:pt x="167" y="30"/>
                        <a:pt x="136" y="70"/>
                        <a:pt x="164" y="48"/>
                      </a:cubicBezTo>
                      <a:cubicBezTo>
                        <a:pt x="181" y="34"/>
                        <a:pt x="174" y="30"/>
                        <a:pt x="200" y="24"/>
                      </a:cubicBezTo>
                      <a:cubicBezTo>
                        <a:pt x="195" y="8"/>
                        <a:pt x="188" y="5"/>
                        <a:pt x="172" y="0"/>
                      </a:cubicBezTo>
                      <a:cubicBezTo>
                        <a:pt x="130" y="5"/>
                        <a:pt x="100" y="13"/>
                        <a:pt x="56" y="16"/>
                      </a:cubicBezTo>
                      <a:cubicBezTo>
                        <a:pt x="41" y="39"/>
                        <a:pt x="33" y="36"/>
                        <a:pt x="4" y="40"/>
                      </a:cubicBezTo>
                      <a:cubicBezTo>
                        <a:pt x="8" y="60"/>
                        <a:pt x="6" y="69"/>
                        <a:pt x="0" y="88"/>
                      </a:cubicBezTo>
                      <a:cubicBezTo>
                        <a:pt x="8" y="112"/>
                        <a:pt x="27" y="109"/>
                        <a:pt x="48" y="116"/>
                      </a:cubicBezTo>
                      <a:cubicBezTo>
                        <a:pt x="63" y="139"/>
                        <a:pt x="63" y="141"/>
                        <a:pt x="92" y="136"/>
                      </a:cubicBezTo>
                      <a:cubicBezTo>
                        <a:pt x="101" y="109"/>
                        <a:pt x="96" y="120"/>
                        <a:pt x="104" y="104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29" name="Freeform 16"/>
                <p:cNvSpPr>
                  <a:spLocks/>
                </p:cNvSpPr>
                <p:nvPr/>
              </p:nvSpPr>
              <p:spPr bwMode="gray">
                <a:xfrm rot="55551">
                  <a:off x="4616" y="2993"/>
                  <a:ext cx="268" cy="492"/>
                </a:xfrm>
                <a:custGeom>
                  <a:avLst/>
                  <a:gdLst>
                    <a:gd name="T0" fmla="*/ 241 w 277"/>
                    <a:gd name="T1" fmla="*/ 230 h 440"/>
                    <a:gd name="T2" fmla="*/ 195 w 277"/>
                    <a:gd name="T3" fmla="*/ 40 h 440"/>
                    <a:gd name="T4" fmla="*/ 155 w 277"/>
                    <a:gd name="T5" fmla="*/ 4 h 440"/>
                    <a:gd name="T6" fmla="*/ 143 w 277"/>
                    <a:gd name="T7" fmla="*/ 0 h 440"/>
                    <a:gd name="T8" fmla="*/ 143 w 277"/>
                    <a:gd name="T9" fmla="*/ 45 h 440"/>
                    <a:gd name="T10" fmla="*/ 159 w 277"/>
                    <a:gd name="T11" fmla="*/ 75 h 440"/>
                    <a:gd name="T12" fmla="*/ 165 w 277"/>
                    <a:gd name="T13" fmla="*/ 91 h 440"/>
                    <a:gd name="T14" fmla="*/ 132 w 277"/>
                    <a:gd name="T15" fmla="*/ 130 h 440"/>
                    <a:gd name="T16" fmla="*/ 113 w 277"/>
                    <a:gd name="T17" fmla="*/ 155 h 440"/>
                    <a:gd name="T18" fmla="*/ 65 w 277"/>
                    <a:gd name="T19" fmla="*/ 140 h 440"/>
                    <a:gd name="T20" fmla="*/ 43 w 277"/>
                    <a:gd name="T21" fmla="*/ 205 h 440"/>
                    <a:gd name="T22" fmla="*/ 65 w 277"/>
                    <a:gd name="T23" fmla="*/ 300 h 440"/>
                    <a:gd name="T24" fmla="*/ 72 w 277"/>
                    <a:gd name="T25" fmla="*/ 330 h 440"/>
                    <a:gd name="T26" fmla="*/ 75 w 277"/>
                    <a:gd name="T27" fmla="*/ 346 h 440"/>
                    <a:gd name="T28" fmla="*/ 9 w 277"/>
                    <a:gd name="T29" fmla="*/ 390 h 440"/>
                    <a:gd name="T30" fmla="*/ 35 w 277"/>
                    <a:gd name="T31" fmla="*/ 480 h 440"/>
                    <a:gd name="T32" fmla="*/ 105 w 277"/>
                    <a:gd name="T33" fmla="*/ 550 h 440"/>
                    <a:gd name="T34" fmla="*/ 117 w 277"/>
                    <a:gd name="T35" fmla="*/ 515 h 440"/>
                    <a:gd name="T36" fmla="*/ 185 w 277"/>
                    <a:gd name="T37" fmla="*/ 495 h 440"/>
                    <a:gd name="T38" fmla="*/ 222 w 277"/>
                    <a:gd name="T39" fmla="*/ 435 h 440"/>
                    <a:gd name="T40" fmla="*/ 245 w 277"/>
                    <a:gd name="T41" fmla="*/ 210 h 440"/>
                    <a:gd name="T42" fmla="*/ 225 w 277"/>
                    <a:gd name="T43" fmla="*/ 70 h 440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0" t="0" r="r" b="b"/>
                  <a:pathLst>
                    <a:path w="277" h="440">
                      <a:moveTo>
                        <a:pt x="257" y="184"/>
                      </a:moveTo>
                      <a:cubicBezTo>
                        <a:pt x="252" y="61"/>
                        <a:pt x="277" y="77"/>
                        <a:pt x="209" y="32"/>
                      </a:cubicBezTo>
                      <a:cubicBezTo>
                        <a:pt x="196" y="13"/>
                        <a:pt x="187" y="11"/>
                        <a:pt x="165" y="4"/>
                      </a:cubicBezTo>
                      <a:cubicBezTo>
                        <a:pt x="161" y="3"/>
                        <a:pt x="153" y="0"/>
                        <a:pt x="153" y="0"/>
                      </a:cubicBezTo>
                      <a:cubicBezTo>
                        <a:pt x="129" y="8"/>
                        <a:pt x="136" y="24"/>
                        <a:pt x="153" y="36"/>
                      </a:cubicBezTo>
                      <a:cubicBezTo>
                        <a:pt x="158" y="44"/>
                        <a:pt x="164" y="52"/>
                        <a:pt x="169" y="60"/>
                      </a:cubicBezTo>
                      <a:cubicBezTo>
                        <a:pt x="172" y="64"/>
                        <a:pt x="177" y="72"/>
                        <a:pt x="177" y="72"/>
                      </a:cubicBezTo>
                      <a:cubicBezTo>
                        <a:pt x="170" y="121"/>
                        <a:pt x="184" y="87"/>
                        <a:pt x="141" y="104"/>
                      </a:cubicBezTo>
                      <a:cubicBezTo>
                        <a:pt x="132" y="108"/>
                        <a:pt x="129" y="119"/>
                        <a:pt x="121" y="124"/>
                      </a:cubicBezTo>
                      <a:cubicBezTo>
                        <a:pt x="89" y="103"/>
                        <a:pt x="107" y="107"/>
                        <a:pt x="69" y="112"/>
                      </a:cubicBezTo>
                      <a:cubicBezTo>
                        <a:pt x="58" y="129"/>
                        <a:pt x="56" y="147"/>
                        <a:pt x="45" y="164"/>
                      </a:cubicBezTo>
                      <a:cubicBezTo>
                        <a:pt x="52" y="191"/>
                        <a:pt x="58" y="215"/>
                        <a:pt x="69" y="240"/>
                      </a:cubicBezTo>
                      <a:cubicBezTo>
                        <a:pt x="72" y="248"/>
                        <a:pt x="74" y="256"/>
                        <a:pt x="77" y="264"/>
                      </a:cubicBezTo>
                      <a:cubicBezTo>
                        <a:pt x="78" y="268"/>
                        <a:pt x="81" y="276"/>
                        <a:pt x="81" y="276"/>
                      </a:cubicBezTo>
                      <a:cubicBezTo>
                        <a:pt x="72" y="303"/>
                        <a:pt x="34" y="306"/>
                        <a:pt x="9" y="312"/>
                      </a:cubicBezTo>
                      <a:cubicBezTo>
                        <a:pt x="0" y="338"/>
                        <a:pt x="15" y="369"/>
                        <a:pt x="37" y="384"/>
                      </a:cubicBezTo>
                      <a:cubicBezTo>
                        <a:pt x="53" y="408"/>
                        <a:pt x="85" y="431"/>
                        <a:pt x="113" y="440"/>
                      </a:cubicBezTo>
                      <a:cubicBezTo>
                        <a:pt x="115" y="437"/>
                        <a:pt x="124" y="414"/>
                        <a:pt x="125" y="412"/>
                      </a:cubicBezTo>
                      <a:cubicBezTo>
                        <a:pt x="137" y="394"/>
                        <a:pt x="189" y="397"/>
                        <a:pt x="197" y="396"/>
                      </a:cubicBezTo>
                      <a:cubicBezTo>
                        <a:pt x="227" y="386"/>
                        <a:pt x="222" y="371"/>
                        <a:pt x="237" y="348"/>
                      </a:cubicBezTo>
                      <a:cubicBezTo>
                        <a:pt x="246" y="285"/>
                        <a:pt x="241" y="227"/>
                        <a:pt x="261" y="168"/>
                      </a:cubicBezTo>
                      <a:cubicBezTo>
                        <a:pt x="259" y="132"/>
                        <a:pt x="270" y="85"/>
                        <a:pt x="241" y="56"/>
                      </a:cubicBezTo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30" name="Freeform 17"/>
                <p:cNvSpPr>
                  <a:spLocks/>
                </p:cNvSpPr>
                <p:nvPr/>
              </p:nvSpPr>
              <p:spPr bwMode="gray">
                <a:xfrm rot="55551">
                  <a:off x="4167" y="717"/>
                  <a:ext cx="755" cy="843"/>
                </a:xfrm>
                <a:custGeom>
                  <a:avLst/>
                  <a:gdLst>
                    <a:gd name="T0" fmla="*/ 455 w 781"/>
                    <a:gd name="T1" fmla="*/ 731 h 755"/>
                    <a:gd name="T2" fmla="*/ 377 w 781"/>
                    <a:gd name="T3" fmla="*/ 792 h 755"/>
                    <a:gd name="T4" fmla="*/ 339 w 781"/>
                    <a:gd name="T5" fmla="*/ 836 h 755"/>
                    <a:gd name="T6" fmla="*/ 335 w 781"/>
                    <a:gd name="T7" fmla="*/ 917 h 755"/>
                    <a:gd name="T8" fmla="*/ 130 w 781"/>
                    <a:gd name="T9" fmla="*/ 921 h 755"/>
                    <a:gd name="T10" fmla="*/ 67 w 781"/>
                    <a:gd name="T11" fmla="*/ 871 h 755"/>
                    <a:gd name="T12" fmla="*/ 73 w 781"/>
                    <a:gd name="T13" fmla="*/ 792 h 755"/>
                    <a:gd name="T14" fmla="*/ 7 w 781"/>
                    <a:gd name="T15" fmla="*/ 712 h 755"/>
                    <a:gd name="T16" fmla="*/ 59 w 781"/>
                    <a:gd name="T17" fmla="*/ 587 h 755"/>
                    <a:gd name="T18" fmla="*/ 77 w 781"/>
                    <a:gd name="T19" fmla="*/ 563 h 755"/>
                    <a:gd name="T20" fmla="*/ 85 w 781"/>
                    <a:gd name="T21" fmla="*/ 527 h 755"/>
                    <a:gd name="T22" fmla="*/ 156 w 781"/>
                    <a:gd name="T23" fmla="*/ 527 h 755"/>
                    <a:gd name="T24" fmla="*/ 93 w 781"/>
                    <a:gd name="T25" fmla="*/ 482 h 755"/>
                    <a:gd name="T26" fmla="*/ 123 w 781"/>
                    <a:gd name="T27" fmla="*/ 423 h 755"/>
                    <a:gd name="T28" fmla="*/ 149 w 781"/>
                    <a:gd name="T29" fmla="*/ 353 h 755"/>
                    <a:gd name="T30" fmla="*/ 212 w 781"/>
                    <a:gd name="T31" fmla="*/ 293 h 755"/>
                    <a:gd name="T32" fmla="*/ 265 w 781"/>
                    <a:gd name="T33" fmla="*/ 243 h 755"/>
                    <a:gd name="T34" fmla="*/ 369 w 781"/>
                    <a:gd name="T35" fmla="*/ 173 h 755"/>
                    <a:gd name="T36" fmla="*/ 463 w 781"/>
                    <a:gd name="T37" fmla="*/ 128 h 755"/>
                    <a:gd name="T38" fmla="*/ 459 w 781"/>
                    <a:gd name="T39" fmla="*/ 94 h 755"/>
                    <a:gd name="T40" fmla="*/ 519 w 781"/>
                    <a:gd name="T41" fmla="*/ 3 h 755"/>
                    <a:gd name="T42" fmla="*/ 567 w 781"/>
                    <a:gd name="T43" fmla="*/ 54 h 755"/>
                    <a:gd name="T44" fmla="*/ 612 w 781"/>
                    <a:gd name="T45" fmla="*/ 104 h 755"/>
                    <a:gd name="T46" fmla="*/ 620 w 781"/>
                    <a:gd name="T47" fmla="*/ 159 h 755"/>
                    <a:gd name="T48" fmla="*/ 578 w 781"/>
                    <a:gd name="T49" fmla="*/ 218 h 755"/>
                    <a:gd name="T50" fmla="*/ 522 w 781"/>
                    <a:gd name="T51" fmla="*/ 238 h 755"/>
                    <a:gd name="T52" fmla="*/ 470 w 781"/>
                    <a:gd name="T53" fmla="*/ 298 h 755"/>
                    <a:gd name="T54" fmla="*/ 541 w 781"/>
                    <a:gd name="T55" fmla="*/ 367 h 755"/>
                    <a:gd name="T56" fmla="*/ 530 w 781"/>
                    <a:gd name="T57" fmla="*/ 442 h 755"/>
                    <a:gd name="T58" fmla="*/ 597 w 781"/>
                    <a:gd name="T59" fmla="*/ 442 h 755"/>
                    <a:gd name="T60" fmla="*/ 672 w 781"/>
                    <a:gd name="T61" fmla="*/ 397 h 755"/>
                    <a:gd name="T62" fmla="*/ 698 w 781"/>
                    <a:gd name="T63" fmla="*/ 468 h 755"/>
                    <a:gd name="T64" fmla="*/ 706 w 781"/>
                    <a:gd name="T65" fmla="*/ 553 h 755"/>
                    <a:gd name="T66" fmla="*/ 660 w 781"/>
                    <a:gd name="T67" fmla="*/ 622 h 755"/>
                    <a:gd name="T68" fmla="*/ 627 w 781"/>
                    <a:gd name="T69" fmla="*/ 712 h 755"/>
                    <a:gd name="T70" fmla="*/ 552 w 781"/>
                    <a:gd name="T71" fmla="*/ 757 h 755"/>
                    <a:gd name="T72" fmla="*/ 489 w 781"/>
                    <a:gd name="T73" fmla="*/ 712 h 755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0" t="0" r="r" b="b"/>
                  <a:pathLst>
                    <a:path w="781" h="755">
                      <a:moveTo>
                        <a:pt x="527" y="579"/>
                      </a:moveTo>
                      <a:cubicBezTo>
                        <a:pt x="524" y="580"/>
                        <a:pt x="493" y="584"/>
                        <a:pt x="487" y="587"/>
                      </a:cubicBezTo>
                      <a:cubicBezTo>
                        <a:pt x="467" y="597"/>
                        <a:pt x="456" y="608"/>
                        <a:pt x="435" y="615"/>
                      </a:cubicBezTo>
                      <a:cubicBezTo>
                        <a:pt x="422" y="634"/>
                        <a:pt x="432" y="625"/>
                        <a:pt x="403" y="635"/>
                      </a:cubicBezTo>
                      <a:cubicBezTo>
                        <a:pt x="399" y="636"/>
                        <a:pt x="391" y="639"/>
                        <a:pt x="391" y="639"/>
                      </a:cubicBezTo>
                      <a:cubicBezTo>
                        <a:pt x="372" y="667"/>
                        <a:pt x="383" y="658"/>
                        <a:pt x="363" y="671"/>
                      </a:cubicBezTo>
                      <a:cubicBezTo>
                        <a:pt x="367" y="697"/>
                        <a:pt x="367" y="699"/>
                        <a:pt x="391" y="707"/>
                      </a:cubicBezTo>
                      <a:cubicBezTo>
                        <a:pt x="398" y="728"/>
                        <a:pt x="378" y="730"/>
                        <a:pt x="359" y="735"/>
                      </a:cubicBezTo>
                      <a:cubicBezTo>
                        <a:pt x="295" y="751"/>
                        <a:pt x="295" y="752"/>
                        <a:pt x="211" y="755"/>
                      </a:cubicBezTo>
                      <a:cubicBezTo>
                        <a:pt x="149" y="750"/>
                        <a:pt x="178" y="748"/>
                        <a:pt x="139" y="739"/>
                      </a:cubicBezTo>
                      <a:cubicBezTo>
                        <a:pt x="126" y="736"/>
                        <a:pt x="99" y="731"/>
                        <a:pt x="99" y="731"/>
                      </a:cubicBezTo>
                      <a:cubicBezTo>
                        <a:pt x="79" y="718"/>
                        <a:pt x="90" y="727"/>
                        <a:pt x="71" y="699"/>
                      </a:cubicBezTo>
                      <a:cubicBezTo>
                        <a:pt x="68" y="695"/>
                        <a:pt x="63" y="687"/>
                        <a:pt x="63" y="687"/>
                      </a:cubicBezTo>
                      <a:cubicBezTo>
                        <a:pt x="69" y="670"/>
                        <a:pt x="74" y="653"/>
                        <a:pt x="79" y="635"/>
                      </a:cubicBezTo>
                      <a:cubicBezTo>
                        <a:pt x="81" y="627"/>
                        <a:pt x="87" y="611"/>
                        <a:pt x="87" y="611"/>
                      </a:cubicBezTo>
                      <a:cubicBezTo>
                        <a:pt x="78" y="583"/>
                        <a:pt x="34" y="578"/>
                        <a:pt x="7" y="571"/>
                      </a:cubicBezTo>
                      <a:cubicBezTo>
                        <a:pt x="0" y="549"/>
                        <a:pt x="27" y="539"/>
                        <a:pt x="43" y="527"/>
                      </a:cubicBezTo>
                      <a:cubicBezTo>
                        <a:pt x="45" y="520"/>
                        <a:pt x="62" y="474"/>
                        <a:pt x="63" y="471"/>
                      </a:cubicBezTo>
                      <a:cubicBezTo>
                        <a:pt x="65" y="467"/>
                        <a:pt x="71" y="466"/>
                        <a:pt x="75" y="463"/>
                      </a:cubicBezTo>
                      <a:cubicBezTo>
                        <a:pt x="78" y="459"/>
                        <a:pt x="83" y="456"/>
                        <a:pt x="83" y="451"/>
                      </a:cubicBezTo>
                      <a:cubicBezTo>
                        <a:pt x="83" y="438"/>
                        <a:pt x="64" y="442"/>
                        <a:pt x="79" y="427"/>
                      </a:cubicBezTo>
                      <a:cubicBezTo>
                        <a:pt x="82" y="424"/>
                        <a:pt x="87" y="424"/>
                        <a:pt x="91" y="423"/>
                      </a:cubicBezTo>
                      <a:cubicBezTo>
                        <a:pt x="103" y="441"/>
                        <a:pt x="110" y="443"/>
                        <a:pt x="131" y="447"/>
                      </a:cubicBezTo>
                      <a:cubicBezTo>
                        <a:pt x="151" y="443"/>
                        <a:pt x="160" y="443"/>
                        <a:pt x="167" y="423"/>
                      </a:cubicBezTo>
                      <a:cubicBezTo>
                        <a:pt x="164" y="419"/>
                        <a:pt x="163" y="414"/>
                        <a:pt x="159" y="411"/>
                      </a:cubicBezTo>
                      <a:cubicBezTo>
                        <a:pt x="147" y="404"/>
                        <a:pt x="114" y="392"/>
                        <a:pt x="99" y="387"/>
                      </a:cubicBezTo>
                      <a:cubicBezTo>
                        <a:pt x="95" y="375"/>
                        <a:pt x="93" y="355"/>
                        <a:pt x="107" y="347"/>
                      </a:cubicBezTo>
                      <a:cubicBezTo>
                        <a:pt x="114" y="343"/>
                        <a:pt x="131" y="339"/>
                        <a:pt x="131" y="339"/>
                      </a:cubicBezTo>
                      <a:cubicBezTo>
                        <a:pt x="137" y="330"/>
                        <a:pt x="145" y="324"/>
                        <a:pt x="151" y="315"/>
                      </a:cubicBezTo>
                      <a:cubicBezTo>
                        <a:pt x="157" y="307"/>
                        <a:pt x="155" y="291"/>
                        <a:pt x="159" y="283"/>
                      </a:cubicBezTo>
                      <a:cubicBezTo>
                        <a:pt x="167" y="266"/>
                        <a:pt x="190" y="257"/>
                        <a:pt x="207" y="251"/>
                      </a:cubicBezTo>
                      <a:cubicBezTo>
                        <a:pt x="230" y="217"/>
                        <a:pt x="199" y="257"/>
                        <a:pt x="227" y="235"/>
                      </a:cubicBezTo>
                      <a:cubicBezTo>
                        <a:pt x="231" y="232"/>
                        <a:pt x="231" y="226"/>
                        <a:pt x="235" y="223"/>
                      </a:cubicBezTo>
                      <a:cubicBezTo>
                        <a:pt x="241" y="218"/>
                        <a:pt x="275" y="198"/>
                        <a:pt x="283" y="195"/>
                      </a:cubicBezTo>
                      <a:cubicBezTo>
                        <a:pt x="305" y="188"/>
                        <a:pt x="326" y="181"/>
                        <a:pt x="347" y="171"/>
                      </a:cubicBezTo>
                      <a:cubicBezTo>
                        <a:pt x="359" y="153"/>
                        <a:pt x="377" y="149"/>
                        <a:pt x="395" y="139"/>
                      </a:cubicBezTo>
                      <a:cubicBezTo>
                        <a:pt x="445" y="111"/>
                        <a:pt x="419" y="120"/>
                        <a:pt x="503" y="115"/>
                      </a:cubicBezTo>
                      <a:cubicBezTo>
                        <a:pt x="500" y="111"/>
                        <a:pt x="499" y="106"/>
                        <a:pt x="495" y="103"/>
                      </a:cubicBezTo>
                      <a:cubicBezTo>
                        <a:pt x="492" y="100"/>
                        <a:pt x="484" y="103"/>
                        <a:pt x="483" y="99"/>
                      </a:cubicBezTo>
                      <a:cubicBezTo>
                        <a:pt x="482" y="91"/>
                        <a:pt x="491" y="75"/>
                        <a:pt x="491" y="75"/>
                      </a:cubicBezTo>
                      <a:cubicBezTo>
                        <a:pt x="484" y="55"/>
                        <a:pt x="490" y="38"/>
                        <a:pt x="511" y="31"/>
                      </a:cubicBezTo>
                      <a:cubicBezTo>
                        <a:pt x="521" y="16"/>
                        <a:pt x="538" y="9"/>
                        <a:pt x="555" y="3"/>
                      </a:cubicBezTo>
                      <a:cubicBezTo>
                        <a:pt x="581" y="12"/>
                        <a:pt x="555" y="0"/>
                        <a:pt x="571" y="19"/>
                      </a:cubicBezTo>
                      <a:cubicBezTo>
                        <a:pt x="579" y="29"/>
                        <a:pt x="595" y="39"/>
                        <a:pt x="607" y="43"/>
                      </a:cubicBezTo>
                      <a:cubicBezTo>
                        <a:pt x="612" y="50"/>
                        <a:pt x="613" y="61"/>
                        <a:pt x="619" y="67"/>
                      </a:cubicBezTo>
                      <a:cubicBezTo>
                        <a:pt x="625" y="73"/>
                        <a:pt x="646" y="80"/>
                        <a:pt x="655" y="83"/>
                      </a:cubicBezTo>
                      <a:cubicBezTo>
                        <a:pt x="671" y="78"/>
                        <a:pt x="680" y="82"/>
                        <a:pt x="695" y="87"/>
                      </a:cubicBezTo>
                      <a:cubicBezTo>
                        <a:pt x="716" y="118"/>
                        <a:pt x="684" y="113"/>
                        <a:pt x="663" y="127"/>
                      </a:cubicBezTo>
                      <a:cubicBezTo>
                        <a:pt x="654" y="141"/>
                        <a:pt x="655" y="150"/>
                        <a:pt x="639" y="155"/>
                      </a:cubicBezTo>
                      <a:cubicBezTo>
                        <a:pt x="635" y="160"/>
                        <a:pt x="628" y="175"/>
                        <a:pt x="619" y="175"/>
                      </a:cubicBezTo>
                      <a:cubicBezTo>
                        <a:pt x="611" y="175"/>
                        <a:pt x="595" y="167"/>
                        <a:pt x="595" y="167"/>
                      </a:cubicBezTo>
                      <a:cubicBezTo>
                        <a:pt x="575" y="171"/>
                        <a:pt x="566" y="171"/>
                        <a:pt x="559" y="191"/>
                      </a:cubicBezTo>
                      <a:cubicBezTo>
                        <a:pt x="562" y="199"/>
                        <a:pt x="570" y="206"/>
                        <a:pt x="571" y="215"/>
                      </a:cubicBezTo>
                      <a:cubicBezTo>
                        <a:pt x="575" y="240"/>
                        <a:pt x="511" y="238"/>
                        <a:pt x="503" y="239"/>
                      </a:cubicBezTo>
                      <a:cubicBezTo>
                        <a:pt x="511" y="264"/>
                        <a:pt x="551" y="269"/>
                        <a:pt x="575" y="275"/>
                      </a:cubicBezTo>
                      <a:cubicBezTo>
                        <a:pt x="576" y="282"/>
                        <a:pt x="577" y="288"/>
                        <a:pt x="579" y="295"/>
                      </a:cubicBezTo>
                      <a:cubicBezTo>
                        <a:pt x="581" y="303"/>
                        <a:pt x="587" y="319"/>
                        <a:pt x="587" y="319"/>
                      </a:cubicBezTo>
                      <a:cubicBezTo>
                        <a:pt x="580" y="340"/>
                        <a:pt x="585" y="327"/>
                        <a:pt x="567" y="355"/>
                      </a:cubicBezTo>
                      <a:cubicBezTo>
                        <a:pt x="562" y="362"/>
                        <a:pt x="559" y="379"/>
                        <a:pt x="559" y="379"/>
                      </a:cubicBezTo>
                      <a:cubicBezTo>
                        <a:pt x="582" y="387"/>
                        <a:pt x="614" y="360"/>
                        <a:pt x="639" y="355"/>
                      </a:cubicBezTo>
                      <a:cubicBezTo>
                        <a:pt x="659" y="342"/>
                        <a:pt x="653" y="321"/>
                        <a:pt x="675" y="307"/>
                      </a:cubicBezTo>
                      <a:cubicBezTo>
                        <a:pt x="711" y="316"/>
                        <a:pt x="697" y="312"/>
                        <a:pt x="719" y="319"/>
                      </a:cubicBezTo>
                      <a:cubicBezTo>
                        <a:pt x="729" y="334"/>
                        <a:pt x="749" y="341"/>
                        <a:pt x="767" y="347"/>
                      </a:cubicBezTo>
                      <a:cubicBezTo>
                        <a:pt x="781" y="368"/>
                        <a:pt x="768" y="371"/>
                        <a:pt x="747" y="375"/>
                      </a:cubicBezTo>
                      <a:cubicBezTo>
                        <a:pt x="733" y="384"/>
                        <a:pt x="724" y="383"/>
                        <a:pt x="719" y="399"/>
                      </a:cubicBezTo>
                      <a:cubicBezTo>
                        <a:pt x="725" y="417"/>
                        <a:pt x="744" y="426"/>
                        <a:pt x="755" y="443"/>
                      </a:cubicBezTo>
                      <a:cubicBezTo>
                        <a:pt x="751" y="463"/>
                        <a:pt x="752" y="472"/>
                        <a:pt x="735" y="483"/>
                      </a:cubicBezTo>
                      <a:cubicBezTo>
                        <a:pt x="726" y="509"/>
                        <a:pt x="739" y="483"/>
                        <a:pt x="707" y="499"/>
                      </a:cubicBezTo>
                      <a:cubicBezTo>
                        <a:pt x="694" y="505"/>
                        <a:pt x="676" y="546"/>
                        <a:pt x="667" y="559"/>
                      </a:cubicBezTo>
                      <a:cubicBezTo>
                        <a:pt x="668" y="563"/>
                        <a:pt x="673" y="567"/>
                        <a:pt x="671" y="571"/>
                      </a:cubicBezTo>
                      <a:cubicBezTo>
                        <a:pt x="668" y="578"/>
                        <a:pt x="652" y="581"/>
                        <a:pt x="647" y="583"/>
                      </a:cubicBezTo>
                      <a:cubicBezTo>
                        <a:pt x="628" y="591"/>
                        <a:pt x="609" y="598"/>
                        <a:pt x="591" y="607"/>
                      </a:cubicBezTo>
                      <a:cubicBezTo>
                        <a:pt x="582" y="606"/>
                        <a:pt x="572" y="606"/>
                        <a:pt x="563" y="603"/>
                      </a:cubicBezTo>
                      <a:cubicBezTo>
                        <a:pt x="552" y="600"/>
                        <a:pt x="540" y="563"/>
                        <a:pt x="523" y="571"/>
                      </a:cubicBezTo>
                      <a:cubicBezTo>
                        <a:pt x="520" y="572"/>
                        <a:pt x="526" y="576"/>
                        <a:pt x="527" y="579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31" name="Freeform 18"/>
                <p:cNvSpPr>
                  <a:spLocks/>
                </p:cNvSpPr>
                <p:nvPr/>
              </p:nvSpPr>
              <p:spPr bwMode="gray">
                <a:xfrm rot="55551">
                  <a:off x="4495" y="1239"/>
                  <a:ext cx="525" cy="844"/>
                </a:xfrm>
                <a:custGeom>
                  <a:avLst/>
                  <a:gdLst>
                    <a:gd name="T0" fmla="*/ 452 w 543"/>
                    <a:gd name="T1" fmla="*/ 239 h 756"/>
                    <a:gd name="T2" fmla="*/ 441 w 543"/>
                    <a:gd name="T3" fmla="*/ 234 h 756"/>
                    <a:gd name="T4" fmla="*/ 430 w 543"/>
                    <a:gd name="T5" fmla="*/ 190 h 756"/>
                    <a:gd name="T6" fmla="*/ 408 w 543"/>
                    <a:gd name="T7" fmla="*/ 145 h 756"/>
                    <a:gd name="T8" fmla="*/ 393 w 543"/>
                    <a:gd name="T9" fmla="*/ 115 h 756"/>
                    <a:gd name="T10" fmla="*/ 385 w 543"/>
                    <a:gd name="T11" fmla="*/ 85 h 756"/>
                    <a:gd name="T12" fmla="*/ 374 w 543"/>
                    <a:gd name="T13" fmla="*/ 0 h 756"/>
                    <a:gd name="T14" fmla="*/ 322 w 543"/>
                    <a:gd name="T15" fmla="*/ 40 h 756"/>
                    <a:gd name="T16" fmla="*/ 288 w 543"/>
                    <a:gd name="T17" fmla="*/ 145 h 756"/>
                    <a:gd name="T18" fmla="*/ 213 w 543"/>
                    <a:gd name="T19" fmla="*/ 174 h 756"/>
                    <a:gd name="T20" fmla="*/ 184 w 543"/>
                    <a:gd name="T21" fmla="*/ 160 h 756"/>
                    <a:gd name="T22" fmla="*/ 168 w 543"/>
                    <a:gd name="T23" fmla="*/ 135 h 756"/>
                    <a:gd name="T24" fmla="*/ 112 w 543"/>
                    <a:gd name="T25" fmla="*/ 160 h 756"/>
                    <a:gd name="T26" fmla="*/ 90 w 543"/>
                    <a:gd name="T27" fmla="*/ 170 h 756"/>
                    <a:gd name="T28" fmla="*/ 78 w 543"/>
                    <a:gd name="T29" fmla="*/ 174 h 756"/>
                    <a:gd name="T30" fmla="*/ 12 w 543"/>
                    <a:gd name="T31" fmla="*/ 229 h 756"/>
                    <a:gd name="T32" fmla="*/ 22 w 543"/>
                    <a:gd name="T33" fmla="*/ 299 h 756"/>
                    <a:gd name="T34" fmla="*/ 74 w 543"/>
                    <a:gd name="T35" fmla="*/ 354 h 756"/>
                    <a:gd name="T36" fmla="*/ 190 w 543"/>
                    <a:gd name="T37" fmla="*/ 459 h 756"/>
                    <a:gd name="T38" fmla="*/ 228 w 543"/>
                    <a:gd name="T39" fmla="*/ 493 h 756"/>
                    <a:gd name="T40" fmla="*/ 198 w 543"/>
                    <a:gd name="T41" fmla="*/ 409 h 756"/>
                    <a:gd name="T42" fmla="*/ 187 w 543"/>
                    <a:gd name="T43" fmla="*/ 364 h 756"/>
                    <a:gd name="T44" fmla="*/ 236 w 543"/>
                    <a:gd name="T45" fmla="*/ 378 h 756"/>
                    <a:gd name="T46" fmla="*/ 273 w 543"/>
                    <a:gd name="T47" fmla="*/ 429 h 756"/>
                    <a:gd name="T48" fmla="*/ 303 w 543"/>
                    <a:gd name="T49" fmla="*/ 578 h 756"/>
                    <a:gd name="T50" fmla="*/ 333 w 543"/>
                    <a:gd name="T51" fmla="*/ 683 h 756"/>
                    <a:gd name="T52" fmla="*/ 344 w 543"/>
                    <a:gd name="T53" fmla="*/ 728 h 756"/>
                    <a:gd name="T54" fmla="*/ 348 w 543"/>
                    <a:gd name="T55" fmla="*/ 742 h 756"/>
                    <a:gd name="T56" fmla="*/ 363 w 543"/>
                    <a:gd name="T57" fmla="*/ 833 h 756"/>
                    <a:gd name="T58" fmla="*/ 374 w 543"/>
                    <a:gd name="T59" fmla="*/ 863 h 756"/>
                    <a:gd name="T60" fmla="*/ 393 w 543"/>
                    <a:gd name="T61" fmla="*/ 922 h 756"/>
                    <a:gd name="T62" fmla="*/ 426 w 543"/>
                    <a:gd name="T63" fmla="*/ 942 h 756"/>
                    <a:gd name="T64" fmla="*/ 445 w 543"/>
                    <a:gd name="T65" fmla="*/ 898 h 756"/>
                    <a:gd name="T66" fmla="*/ 426 w 543"/>
                    <a:gd name="T67" fmla="*/ 833 h 756"/>
                    <a:gd name="T68" fmla="*/ 441 w 543"/>
                    <a:gd name="T69" fmla="*/ 763 h 756"/>
                    <a:gd name="T70" fmla="*/ 445 w 543"/>
                    <a:gd name="T71" fmla="*/ 748 h 756"/>
                    <a:gd name="T72" fmla="*/ 441 w 543"/>
                    <a:gd name="T73" fmla="*/ 673 h 756"/>
                    <a:gd name="T74" fmla="*/ 471 w 543"/>
                    <a:gd name="T75" fmla="*/ 649 h 756"/>
                    <a:gd name="T76" fmla="*/ 482 w 543"/>
                    <a:gd name="T77" fmla="*/ 643 h 756"/>
                    <a:gd name="T78" fmla="*/ 449 w 543"/>
                    <a:gd name="T79" fmla="*/ 574 h 756"/>
                    <a:gd name="T80" fmla="*/ 415 w 543"/>
                    <a:gd name="T81" fmla="*/ 598 h 756"/>
                    <a:gd name="T82" fmla="*/ 381 w 543"/>
                    <a:gd name="T83" fmla="*/ 568 h 756"/>
                    <a:gd name="T84" fmla="*/ 352 w 543"/>
                    <a:gd name="T85" fmla="*/ 499 h 756"/>
                    <a:gd name="T86" fmla="*/ 378 w 543"/>
                    <a:gd name="T87" fmla="*/ 453 h 756"/>
                    <a:gd name="T88" fmla="*/ 374 w 543"/>
                    <a:gd name="T89" fmla="*/ 409 h 756"/>
                    <a:gd name="T90" fmla="*/ 370 w 543"/>
                    <a:gd name="T91" fmla="*/ 394 h 756"/>
                    <a:gd name="T92" fmla="*/ 374 w 543"/>
                    <a:gd name="T93" fmla="*/ 378 h 756"/>
                    <a:gd name="T94" fmla="*/ 396 w 543"/>
                    <a:gd name="T95" fmla="*/ 389 h 756"/>
                    <a:gd name="T96" fmla="*/ 381 w 543"/>
                    <a:gd name="T97" fmla="*/ 349 h 756"/>
                    <a:gd name="T98" fmla="*/ 389 w 543"/>
                    <a:gd name="T99" fmla="*/ 275 h 756"/>
                    <a:gd name="T100" fmla="*/ 411 w 543"/>
                    <a:gd name="T101" fmla="*/ 259 h 756"/>
                    <a:gd name="T102" fmla="*/ 434 w 543"/>
                    <a:gd name="T103" fmla="*/ 239 h 756"/>
                    <a:gd name="T104" fmla="*/ 445 w 543"/>
                    <a:gd name="T105" fmla="*/ 249 h 756"/>
                    <a:gd name="T106" fmla="*/ 452 w 543"/>
                    <a:gd name="T107" fmla="*/ 239 h 75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0" t="0" r="r" b="b"/>
                  <a:pathLst>
                    <a:path w="543" h="756">
                      <a:moveTo>
                        <a:pt x="484" y="192"/>
                      </a:moveTo>
                      <a:cubicBezTo>
                        <a:pt x="480" y="191"/>
                        <a:pt x="474" y="191"/>
                        <a:pt x="472" y="188"/>
                      </a:cubicBezTo>
                      <a:cubicBezTo>
                        <a:pt x="472" y="188"/>
                        <a:pt x="462" y="158"/>
                        <a:pt x="460" y="152"/>
                      </a:cubicBezTo>
                      <a:cubicBezTo>
                        <a:pt x="455" y="138"/>
                        <a:pt x="444" y="128"/>
                        <a:pt x="436" y="116"/>
                      </a:cubicBezTo>
                      <a:cubicBezTo>
                        <a:pt x="431" y="108"/>
                        <a:pt x="425" y="100"/>
                        <a:pt x="420" y="92"/>
                      </a:cubicBezTo>
                      <a:cubicBezTo>
                        <a:pt x="415" y="85"/>
                        <a:pt x="412" y="68"/>
                        <a:pt x="412" y="68"/>
                      </a:cubicBezTo>
                      <a:cubicBezTo>
                        <a:pt x="409" y="44"/>
                        <a:pt x="404" y="24"/>
                        <a:pt x="400" y="0"/>
                      </a:cubicBezTo>
                      <a:cubicBezTo>
                        <a:pt x="385" y="5"/>
                        <a:pt x="358" y="23"/>
                        <a:pt x="344" y="32"/>
                      </a:cubicBezTo>
                      <a:cubicBezTo>
                        <a:pt x="329" y="54"/>
                        <a:pt x="316" y="91"/>
                        <a:pt x="308" y="116"/>
                      </a:cubicBezTo>
                      <a:cubicBezTo>
                        <a:pt x="304" y="129"/>
                        <a:pt x="239" y="137"/>
                        <a:pt x="228" y="140"/>
                      </a:cubicBezTo>
                      <a:cubicBezTo>
                        <a:pt x="219" y="138"/>
                        <a:pt x="202" y="138"/>
                        <a:pt x="196" y="128"/>
                      </a:cubicBezTo>
                      <a:cubicBezTo>
                        <a:pt x="180" y="104"/>
                        <a:pt x="205" y="116"/>
                        <a:pt x="180" y="108"/>
                      </a:cubicBezTo>
                      <a:cubicBezTo>
                        <a:pt x="161" y="121"/>
                        <a:pt x="142" y="122"/>
                        <a:pt x="120" y="128"/>
                      </a:cubicBezTo>
                      <a:cubicBezTo>
                        <a:pt x="112" y="130"/>
                        <a:pt x="104" y="133"/>
                        <a:pt x="96" y="136"/>
                      </a:cubicBezTo>
                      <a:cubicBezTo>
                        <a:pt x="92" y="137"/>
                        <a:pt x="84" y="140"/>
                        <a:pt x="84" y="140"/>
                      </a:cubicBezTo>
                      <a:cubicBezTo>
                        <a:pt x="64" y="169"/>
                        <a:pt x="38" y="166"/>
                        <a:pt x="12" y="184"/>
                      </a:cubicBezTo>
                      <a:cubicBezTo>
                        <a:pt x="4" y="209"/>
                        <a:pt x="0" y="224"/>
                        <a:pt x="24" y="240"/>
                      </a:cubicBezTo>
                      <a:cubicBezTo>
                        <a:pt x="32" y="282"/>
                        <a:pt x="44" y="272"/>
                        <a:pt x="80" y="284"/>
                      </a:cubicBezTo>
                      <a:cubicBezTo>
                        <a:pt x="98" y="337"/>
                        <a:pt x="162" y="340"/>
                        <a:pt x="204" y="368"/>
                      </a:cubicBezTo>
                      <a:cubicBezTo>
                        <a:pt x="209" y="384"/>
                        <a:pt x="227" y="390"/>
                        <a:pt x="244" y="396"/>
                      </a:cubicBezTo>
                      <a:cubicBezTo>
                        <a:pt x="252" y="371"/>
                        <a:pt x="238" y="337"/>
                        <a:pt x="212" y="328"/>
                      </a:cubicBezTo>
                      <a:cubicBezTo>
                        <a:pt x="198" y="314"/>
                        <a:pt x="188" y="310"/>
                        <a:pt x="200" y="292"/>
                      </a:cubicBezTo>
                      <a:cubicBezTo>
                        <a:pt x="217" y="298"/>
                        <a:pt x="235" y="298"/>
                        <a:pt x="252" y="304"/>
                      </a:cubicBezTo>
                      <a:cubicBezTo>
                        <a:pt x="262" y="319"/>
                        <a:pt x="277" y="334"/>
                        <a:pt x="292" y="344"/>
                      </a:cubicBezTo>
                      <a:cubicBezTo>
                        <a:pt x="317" y="381"/>
                        <a:pt x="284" y="437"/>
                        <a:pt x="324" y="464"/>
                      </a:cubicBezTo>
                      <a:cubicBezTo>
                        <a:pt x="333" y="492"/>
                        <a:pt x="346" y="519"/>
                        <a:pt x="356" y="548"/>
                      </a:cubicBezTo>
                      <a:cubicBezTo>
                        <a:pt x="360" y="560"/>
                        <a:pt x="364" y="572"/>
                        <a:pt x="368" y="584"/>
                      </a:cubicBezTo>
                      <a:cubicBezTo>
                        <a:pt x="369" y="588"/>
                        <a:pt x="372" y="596"/>
                        <a:pt x="372" y="596"/>
                      </a:cubicBezTo>
                      <a:cubicBezTo>
                        <a:pt x="367" y="625"/>
                        <a:pt x="367" y="647"/>
                        <a:pt x="388" y="668"/>
                      </a:cubicBezTo>
                      <a:cubicBezTo>
                        <a:pt x="403" y="712"/>
                        <a:pt x="379" y="645"/>
                        <a:pt x="400" y="692"/>
                      </a:cubicBezTo>
                      <a:cubicBezTo>
                        <a:pt x="407" y="707"/>
                        <a:pt x="408" y="728"/>
                        <a:pt x="420" y="740"/>
                      </a:cubicBezTo>
                      <a:cubicBezTo>
                        <a:pt x="429" y="749"/>
                        <a:pt x="456" y="756"/>
                        <a:pt x="456" y="756"/>
                      </a:cubicBezTo>
                      <a:cubicBezTo>
                        <a:pt x="460" y="743"/>
                        <a:pt x="476" y="720"/>
                        <a:pt x="476" y="720"/>
                      </a:cubicBezTo>
                      <a:cubicBezTo>
                        <a:pt x="471" y="701"/>
                        <a:pt x="467" y="684"/>
                        <a:pt x="456" y="668"/>
                      </a:cubicBezTo>
                      <a:cubicBezTo>
                        <a:pt x="466" y="628"/>
                        <a:pt x="461" y="646"/>
                        <a:pt x="472" y="612"/>
                      </a:cubicBezTo>
                      <a:cubicBezTo>
                        <a:pt x="473" y="608"/>
                        <a:pt x="476" y="600"/>
                        <a:pt x="476" y="600"/>
                      </a:cubicBezTo>
                      <a:cubicBezTo>
                        <a:pt x="474" y="583"/>
                        <a:pt x="465" y="557"/>
                        <a:pt x="472" y="540"/>
                      </a:cubicBezTo>
                      <a:cubicBezTo>
                        <a:pt x="479" y="523"/>
                        <a:pt x="485" y="526"/>
                        <a:pt x="504" y="520"/>
                      </a:cubicBezTo>
                      <a:cubicBezTo>
                        <a:pt x="508" y="519"/>
                        <a:pt x="516" y="516"/>
                        <a:pt x="516" y="516"/>
                      </a:cubicBezTo>
                      <a:cubicBezTo>
                        <a:pt x="543" y="476"/>
                        <a:pt x="511" y="465"/>
                        <a:pt x="480" y="460"/>
                      </a:cubicBezTo>
                      <a:cubicBezTo>
                        <a:pt x="452" y="478"/>
                        <a:pt x="465" y="473"/>
                        <a:pt x="444" y="480"/>
                      </a:cubicBezTo>
                      <a:cubicBezTo>
                        <a:pt x="429" y="475"/>
                        <a:pt x="415" y="472"/>
                        <a:pt x="408" y="456"/>
                      </a:cubicBezTo>
                      <a:cubicBezTo>
                        <a:pt x="398" y="434"/>
                        <a:pt x="401" y="408"/>
                        <a:pt x="376" y="400"/>
                      </a:cubicBezTo>
                      <a:cubicBezTo>
                        <a:pt x="359" y="375"/>
                        <a:pt x="386" y="376"/>
                        <a:pt x="404" y="364"/>
                      </a:cubicBezTo>
                      <a:cubicBezTo>
                        <a:pt x="411" y="344"/>
                        <a:pt x="409" y="356"/>
                        <a:pt x="400" y="328"/>
                      </a:cubicBezTo>
                      <a:cubicBezTo>
                        <a:pt x="399" y="324"/>
                        <a:pt x="396" y="316"/>
                        <a:pt x="396" y="316"/>
                      </a:cubicBezTo>
                      <a:cubicBezTo>
                        <a:pt x="397" y="312"/>
                        <a:pt x="396" y="305"/>
                        <a:pt x="400" y="304"/>
                      </a:cubicBezTo>
                      <a:cubicBezTo>
                        <a:pt x="408" y="303"/>
                        <a:pt x="424" y="312"/>
                        <a:pt x="424" y="312"/>
                      </a:cubicBezTo>
                      <a:cubicBezTo>
                        <a:pt x="430" y="294"/>
                        <a:pt x="423" y="290"/>
                        <a:pt x="408" y="280"/>
                      </a:cubicBezTo>
                      <a:cubicBezTo>
                        <a:pt x="410" y="260"/>
                        <a:pt x="403" y="236"/>
                        <a:pt x="416" y="220"/>
                      </a:cubicBezTo>
                      <a:cubicBezTo>
                        <a:pt x="425" y="209"/>
                        <a:pt x="430" y="214"/>
                        <a:pt x="440" y="208"/>
                      </a:cubicBezTo>
                      <a:cubicBezTo>
                        <a:pt x="448" y="203"/>
                        <a:pt x="464" y="192"/>
                        <a:pt x="464" y="192"/>
                      </a:cubicBezTo>
                      <a:cubicBezTo>
                        <a:pt x="468" y="195"/>
                        <a:pt x="471" y="200"/>
                        <a:pt x="476" y="200"/>
                      </a:cubicBezTo>
                      <a:cubicBezTo>
                        <a:pt x="485" y="200"/>
                        <a:pt x="494" y="192"/>
                        <a:pt x="484" y="192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32" name="Freeform 19"/>
                <p:cNvSpPr>
                  <a:spLocks/>
                </p:cNvSpPr>
                <p:nvPr/>
              </p:nvSpPr>
              <p:spPr bwMode="gray">
                <a:xfrm rot="55551">
                  <a:off x="4916" y="1663"/>
                  <a:ext cx="61" cy="88"/>
                </a:xfrm>
                <a:custGeom>
                  <a:avLst/>
                  <a:gdLst>
                    <a:gd name="T0" fmla="*/ 30 w 63"/>
                    <a:gd name="T1" fmla="*/ 23 h 79"/>
                    <a:gd name="T2" fmla="*/ 0 w 63"/>
                    <a:gd name="T3" fmla="*/ 23 h 79"/>
                    <a:gd name="T4" fmla="*/ 26 w 63"/>
                    <a:gd name="T5" fmla="*/ 98 h 79"/>
                    <a:gd name="T6" fmla="*/ 30 w 63"/>
                    <a:gd name="T7" fmla="*/ 23 h 79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63" h="79">
                      <a:moveTo>
                        <a:pt x="32" y="19"/>
                      </a:moveTo>
                      <a:cubicBezTo>
                        <a:pt x="14" y="13"/>
                        <a:pt x="13" y="0"/>
                        <a:pt x="0" y="19"/>
                      </a:cubicBezTo>
                      <a:cubicBezTo>
                        <a:pt x="4" y="43"/>
                        <a:pt x="2" y="70"/>
                        <a:pt x="28" y="79"/>
                      </a:cubicBezTo>
                      <a:cubicBezTo>
                        <a:pt x="63" y="70"/>
                        <a:pt x="44" y="43"/>
                        <a:pt x="32" y="19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33" name="Freeform 20"/>
                <p:cNvSpPr>
                  <a:spLocks/>
                </p:cNvSpPr>
                <p:nvPr/>
              </p:nvSpPr>
              <p:spPr bwMode="gray">
                <a:xfrm rot="55551">
                  <a:off x="4928" y="1781"/>
                  <a:ext cx="352" cy="459"/>
                </a:xfrm>
                <a:custGeom>
                  <a:avLst/>
                  <a:gdLst>
                    <a:gd name="T0" fmla="*/ 134 w 364"/>
                    <a:gd name="T1" fmla="*/ 14 h 412"/>
                    <a:gd name="T2" fmla="*/ 71 w 364"/>
                    <a:gd name="T3" fmla="*/ 0 h 412"/>
                    <a:gd name="T4" fmla="*/ 52 w 364"/>
                    <a:gd name="T5" fmla="*/ 45 h 412"/>
                    <a:gd name="T6" fmla="*/ 22 w 364"/>
                    <a:gd name="T7" fmla="*/ 55 h 412"/>
                    <a:gd name="T8" fmla="*/ 8 w 364"/>
                    <a:gd name="T9" fmla="*/ 198 h 412"/>
                    <a:gd name="T10" fmla="*/ 12 w 364"/>
                    <a:gd name="T11" fmla="*/ 253 h 412"/>
                    <a:gd name="T12" fmla="*/ 18 w 364"/>
                    <a:gd name="T13" fmla="*/ 283 h 412"/>
                    <a:gd name="T14" fmla="*/ 0 w 364"/>
                    <a:gd name="T15" fmla="*/ 348 h 412"/>
                    <a:gd name="T16" fmla="*/ 120 w 364"/>
                    <a:gd name="T17" fmla="*/ 412 h 412"/>
                    <a:gd name="T18" fmla="*/ 154 w 364"/>
                    <a:gd name="T19" fmla="*/ 437 h 412"/>
                    <a:gd name="T20" fmla="*/ 164 w 364"/>
                    <a:gd name="T21" fmla="*/ 447 h 412"/>
                    <a:gd name="T22" fmla="*/ 191 w 364"/>
                    <a:gd name="T23" fmla="*/ 481 h 412"/>
                    <a:gd name="T24" fmla="*/ 224 w 364"/>
                    <a:gd name="T25" fmla="*/ 461 h 412"/>
                    <a:gd name="T26" fmla="*/ 258 w 364"/>
                    <a:gd name="T27" fmla="*/ 491 h 412"/>
                    <a:gd name="T28" fmla="*/ 314 w 364"/>
                    <a:gd name="T29" fmla="*/ 511 h 412"/>
                    <a:gd name="T30" fmla="*/ 307 w 364"/>
                    <a:gd name="T31" fmla="*/ 457 h 412"/>
                    <a:gd name="T32" fmla="*/ 299 w 364"/>
                    <a:gd name="T33" fmla="*/ 427 h 412"/>
                    <a:gd name="T34" fmla="*/ 296 w 364"/>
                    <a:gd name="T35" fmla="*/ 412 h 412"/>
                    <a:gd name="T36" fmla="*/ 280 w 364"/>
                    <a:gd name="T37" fmla="*/ 368 h 412"/>
                    <a:gd name="T38" fmla="*/ 254 w 364"/>
                    <a:gd name="T39" fmla="*/ 358 h 412"/>
                    <a:gd name="T40" fmla="*/ 236 w 364"/>
                    <a:gd name="T41" fmla="*/ 287 h 412"/>
                    <a:gd name="T42" fmla="*/ 206 w 364"/>
                    <a:gd name="T43" fmla="*/ 243 h 412"/>
                    <a:gd name="T44" fmla="*/ 198 w 364"/>
                    <a:gd name="T45" fmla="*/ 214 h 412"/>
                    <a:gd name="T46" fmla="*/ 232 w 364"/>
                    <a:gd name="T47" fmla="*/ 194 h 412"/>
                    <a:gd name="T48" fmla="*/ 157 w 364"/>
                    <a:gd name="T49" fmla="*/ 119 h 412"/>
                    <a:gd name="T50" fmla="*/ 157 w 364"/>
                    <a:gd name="T51" fmla="*/ 85 h 412"/>
                    <a:gd name="T52" fmla="*/ 146 w 364"/>
                    <a:gd name="T53" fmla="*/ 35 h 412"/>
                    <a:gd name="T54" fmla="*/ 134 w 364"/>
                    <a:gd name="T55" fmla="*/ 14 h 412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0" t="0" r="r" b="b"/>
                  <a:pathLst>
                    <a:path w="364" h="412">
                      <a:moveTo>
                        <a:pt x="144" y="12"/>
                      </a:moveTo>
                      <a:cubicBezTo>
                        <a:pt x="110" y="17"/>
                        <a:pt x="105" y="10"/>
                        <a:pt x="76" y="0"/>
                      </a:cubicBezTo>
                      <a:cubicBezTo>
                        <a:pt x="55" y="14"/>
                        <a:pt x="67" y="27"/>
                        <a:pt x="56" y="36"/>
                      </a:cubicBezTo>
                      <a:cubicBezTo>
                        <a:pt x="48" y="43"/>
                        <a:pt x="34" y="41"/>
                        <a:pt x="24" y="44"/>
                      </a:cubicBezTo>
                      <a:cubicBezTo>
                        <a:pt x="1" y="79"/>
                        <a:pt x="21" y="122"/>
                        <a:pt x="8" y="160"/>
                      </a:cubicBezTo>
                      <a:cubicBezTo>
                        <a:pt x="9" y="175"/>
                        <a:pt x="9" y="189"/>
                        <a:pt x="12" y="204"/>
                      </a:cubicBezTo>
                      <a:cubicBezTo>
                        <a:pt x="13" y="212"/>
                        <a:pt x="20" y="228"/>
                        <a:pt x="20" y="228"/>
                      </a:cubicBezTo>
                      <a:cubicBezTo>
                        <a:pt x="15" y="247"/>
                        <a:pt x="11" y="264"/>
                        <a:pt x="0" y="280"/>
                      </a:cubicBezTo>
                      <a:cubicBezTo>
                        <a:pt x="37" y="305"/>
                        <a:pt x="86" y="320"/>
                        <a:pt x="128" y="332"/>
                      </a:cubicBezTo>
                      <a:cubicBezTo>
                        <a:pt x="146" y="337"/>
                        <a:pt x="143" y="338"/>
                        <a:pt x="164" y="352"/>
                      </a:cubicBezTo>
                      <a:cubicBezTo>
                        <a:pt x="168" y="355"/>
                        <a:pt x="176" y="360"/>
                        <a:pt x="176" y="360"/>
                      </a:cubicBezTo>
                      <a:cubicBezTo>
                        <a:pt x="186" y="374"/>
                        <a:pt x="194" y="374"/>
                        <a:pt x="204" y="388"/>
                      </a:cubicBezTo>
                      <a:cubicBezTo>
                        <a:pt x="217" y="384"/>
                        <a:pt x="227" y="376"/>
                        <a:pt x="240" y="372"/>
                      </a:cubicBezTo>
                      <a:cubicBezTo>
                        <a:pt x="256" y="377"/>
                        <a:pt x="262" y="388"/>
                        <a:pt x="276" y="396"/>
                      </a:cubicBezTo>
                      <a:cubicBezTo>
                        <a:pt x="292" y="405"/>
                        <a:pt x="318" y="408"/>
                        <a:pt x="336" y="412"/>
                      </a:cubicBezTo>
                      <a:cubicBezTo>
                        <a:pt x="364" y="403"/>
                        <a:pt x="350" y="375"/>
                        <a:pt x="328" y="368"/>
                      </a:cubicBezTo>
                      <a:cubicBezTo>
                        <a:pt x="325" y="360"/>
                        <a:pt x="323" y="352"/>
                        <a:pt x="320" y="344"/>
                      </a:cubicBezTo>
                      <a:cubicBezTo>
                        <a:pt x="319" y="340"/>
                        <a:pt x="316" y="332"/>
                        <a:pt x="316" y="332"/>
                      </a:cubicBezTo>
                      <a:cubicBezTo>
                        <a:pt x="342" y="323"/>
                        <a:pt x="315" y="302"/>
                        <a:pt x="300" y="296"/>
                      </a:cubicBezTo>
                      <a:cubicBezTo>
                        <a:pt x="291" y="292"/>
                        <a:pt x="281" y="291"/>
                        <a:pt x="272" y="288"/>
                      </a:cubicBezTo>
                      <a:cubicBezTo>
                        <a:pt x="259" y="268"/>
                        <a:pt x="276" y="248"/>
                        <a:pt x="252" y="232"/>
                      </a:cubicBezTo>
                      <a:cubicBezTo>
                        <a:pt x="243" y="218"/>
                        <a:pt x="227" y="212"/>
                        <a:pt x="220" y="196"/>
                      </a:cubicBezTo>
                      <a:cubicBezTo>
                        <a:pt x="217" y="188"/>
                        <a:pt x="212" y="172"/>
                        <a:pt x="212" y="172"/>
                      </a:cubicBezTo>
                      <a:cubicBezTo>
                        <a:pt x="223" y="165"/>
                        <a:pt x="248" y="156"/>
                        <a:pt x="248" y="156"/>
                      </a:cubicBezTo>
                      <a:cubicBezTo>
                        <a:pt x="239" y="101"/>
                        <a:pt x="211" y="110"/>
                        <a:pt x="168" y="96"/>
                      </a:cubicBezTo>
                      <a:cubicBezTo>
                        <a:pt x="159" y="82"/>
                        <a:pt x="148" y="75"/>
                        <a:pt x="168" y="68"/>
                      </a:cubicBezTo>
                      <a:cubicBezTo>
                        <a:pt x="189" y="37"/>
                        <a:pt x="171" y="40"/>
                        <a:pt x="156" y="28"/>
                      </a:cubicBezTo>
                      <a:cubicBezTo>
                        <a:pt x="151" y="24"/>
                        <a:pt x="148" y="17"/>
                        <a:pt x="144" y="12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34" name="Freeform 21"/>
                <p:cNvSpPr>
                  <a:spLocks/>
                </p:cNvSpPr>
                <p:nvPr/>
              </p:nvSpPr>
              <p:spPr bwMode="gray">
                <a:xfrm rot="55551">
                  <a:off x="4635" y="2540"/>
                  <a:ext cx="449" cy="459"/>
                </a:xfrm>
                <a:custGeom>
                  <a:avLst/>
                  <a:gdLst>
                    <a:gd name="T0" fmla="*/ 128 w 464"/>
                    <a:gd name="T1" fmla="*/ 105 h 412"/>
                    <a:gd name="T2" fmla="*/ 102 w 464"/>
                    <a:gd name="T3" fmla="*/ 65 h 412"/>
                    <a:gd name="T4" fmla="*/ 94 w 464"/>
                    <a:gd name="T5" fmla="*/ 50 h 412"/>
                    <a:gd name="T6" fmla="*/ 82 w 464"/>
                    <a:gd name="T7" fmla="*/ 40 h 412"/>
                    <a:gd name="T8" fmla="*/ 78 w 464"/>
                    <a:gd name="T9" fmla="*/ 25 h 412"/>
                    <a:gd name="T10" fmla="*/ 26 w 464"/>
                    <a:gd name="T11" fmla="*/ 0 h 412"/>
                    <a:gd name="T12" fmla="*/ 18 w 464"/>
                    <a:gd name="T13" fmla="*/ 35 h 412"/>
                    <a:gd name="T14" fmla="*/ 30 w 464"/>
                    <a:gd name="T15" fmla="*/ 105 h 412"/>
                    <a:gd name="T16" fmla="*/ 34 w 464"/>
                    <a:gd name="T17" fmla="*/ 119 h 412"/>
                    <a:gd name="T18" fmla="*/ 78 w 464"/>
                    <a:gd name="T19" fmla="*/ 144 h 412"/>
                    <a:gd name="T20" fmla="*/ 131 w 464"/>
                    <a:gd name="T21" fmla="*/ 194 h 412"/>
                    <a:gd name="T22" fmla="*/ 206 w 464"/>
                    <a:gd name="T23" fmla="*/ 283 h 412"/>
                    <a:gd name="T24" fmla="*/ 228 w 464"/>
                    <a:gd name="T25" fmla="*/ 303 h 412"/>
                    <a:gd name="T26" fmla="*/ 251 w 464"/>
                    <a:gd name="T27" fmla="*/ 348 h 412"/>
                    <a:gd name="T28" fmla="*/ 274 w 464"/>
                    <a:gd name="T29" fmla="*/ 358 h 412"/>
                    <a:gd name="T30" fmla="*/ 284 w 464"/>
                    <a:gd name="T31" fmla="*/ 362 h 412"/>
                    <a:gd name="T32" fmla="*/ 314 w 464"/>
                    <a:gd name="T33" fmla="*/ 417 h 412"/>
                    <a:gd name="T34" fmla="*/ 344 w 464"/>
                    <a:gd name="T35" fmla="*/ 461 h 412"/>
                    <a:gd name="T36" fmla="*/ 371 w 464"/>
                    <a:gd name="T37" fmla="*/ 501 h 412"/>
                    <a:gd name="T38" fmla="*/ 393 w 464"/>
                    <a:gd name="T39" fmla="*/ 511 h 412"/>
                    <a:gd name="T40" fmla="*/ 382 w 464"/>
                    <a:gd name="T41" fmla="*/ 471 h 412"/>
                    <a:gd name="T42" fmla="*/ 423 w 464"/>
                    <a:gd name="T43" fmla="*/ 432 h 412"/>
                    <a:gd name="T44" fmla="*/ 397 w 464"/>
                    <a:gd name="T45" fmla="*/ 378 h 412"/>
                    <a:gd name="T46" fmla="*/ 288 w 464"/>
                    <a:gd name="T47" fmla="*/ 328 h 412"/>
                    <a:gd name="T48" fmla="*/ 274 w 464"/>
                    <a:gd name="T49" fmla="*/ 283 h 412"/>
                    <a:gd name="T50" fmla="*/ 270 w 464"/>
                    <a:gd name="T51" fmla="*/ 268 h 412"/>
                    <a:gd name="T52" fmla="*/ 296 w 464"/>
                    <a:gd name="T53" fmla="*/ 228 h 412"/>
                    <a:gd name="T54" fmla="*/ 225 w 464"/>
                    <a:gd name="T55" fmla="*/ 174 h 412"/>
                    <a:gd name="T56" fmla="*/ 154 w 464"/>
                    <a:gd name="T57" fmla="*/ 114 h 412"/>
                    <a:gd name="T58" fmla="*/ 128 w 464"/>
                    <a:gd name="T59" fmla="*/ 105 h 412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464" h="412">
                      <a:moveTo>
                        <a:pt x="136" y="84"/>
                      </a:moveTo>
                      <a:cubicBezTo>
                        <a:pt x="117" y="56"/>
                        <a:pt x="128" y="65"/>
                        <a:pt x="108" y="52"/>
                      </a:cubicBezTo>
                      <a:cubicBezTo>
                        <a:pt x="105" y="48"/>
                        <a:pt x="103" y="43"/>
                        <a:pt x="100" y="40"/>
                      </a:cubicBezTo>
                      <a:cubicBezTo>
                        <a:pt x="97" y="37"/>
                        <a:pt x="91" y="36"/>
                        <a:pt x="88" y="32"/>
                      </a:cubicBezTo>
                      <a:cubicBezTo>
                        <a:pt x="85" y="29"/>
                        <a:pt x="87" y="23"/>
                        <a:pt x="84" y="20"/>
                      </a:cubicBezTo>
                      <a:cubicBezTo>
                        <a:pt x="72" y="5"/>
                        <a:pt x="44" y="5"/>
                        <a:pt x="28" y="0"/>
                      </a:cubicBezTo>
                      <a:cubicBezTo>
                        <a:pt x="0" y="6"/>
                        <a:pt x="7" y="8"/>
                        <a:pt x="20" y="28"/>
                      </a:cubicBezTo>
                      <a:cubicBezTo>
                        <a:pt x="13" y="49"/>
                        <a:pt x="5" y="75"/>
                        <a:pt x="32" y="84"/>
                      </a:cubicBezTo>
                      <a:cubicBezTo>
                        <a:pt x="33" y="88"/>
                        <a:pt x="33" y="94"/>
                        <a:pt x="36" y="96"/>
                      </a:cubicBezTo>
                      <a:cubicBezTo>
                        <a:pt x="43" y="101"/>
                        <a:pt x="75" y="113"/>
                        <a:pt x="84" y="116"/>
                      </a:cubicBezTo>
                      <a:cubicBezTo>
                        <a:pt x="99" y="138"/>
                        <a:pt x="120" y="142"/>
                        <a:pt x="140" y="156"/>
                      </a:cubicBezTo>
                      <a:cubicBezTo>
                        <a:pt x="160" y="186"/>
                        <a:pt x="183" y="221"/>
                        <a:pt x="220" y="228"/>
                      </a:cubicBezTo>
                      <a:cubicBezTo>
                        <a:pt x="228" y="233"/>
                        <a:pt x="236" y="239"/>
                        <a:pt x="244" y="244"/>
                      </a:cubicBezTo>
                      <a:cubicBezTo>
                        <a:pt x="250" y="248"/>
                        <a:pt x="255" y="273"/>
                        <a:pt x="268" y="280"/>
                      </a:cubicBezTo>
                      <a:cubicBezTo>
                        <a:pt x="275" y="284"/>
                        <a:pt x="284" y="285"/>
                        <a:pt x="292" y="288"/>
                      </a:cubicBezTo>
                      <a:cubicBezTo>
                        <a:pt x="296" y="289"/>
                        <a:pt x="304" y="292"/>
                        <a:pt x="304" y="292"/>
                      </a:cubicBezTo>
                      <a:cubicBezTo>
                        <a:pt x="311" y="312"/>
                        <a:pt x="319" y="325"/>
                        <a:pt x="336" y="336"/>
                      </a:cubicBezTo>
                      <a:cubicBezTo>
                        <a:pt x="345" y="349"/>
                        <a:pt x="368" y="372"/>
                        <a:pt x="368" y="372"/>
                      </a:cubicBezTo>
                      <a:cubicBezTo>
                        <a:pt x="373" y="386"/>
                        <a:pt x="381" y="398"/>
                        <a:pt x="396" y="404"/>
                      </a:cubicBezTo>
                      <a:cubicBezTo>
                        <a:pt x="404" y="407"/>
                        <a:pt x="420" y="412"/>
                        <a:pt x="420" y="412"/>
                      </a:cubicBezTo>
                      <a:cubicBezTo>
                        <a:pt x="444" y="404"/>
                        <a:pt x="420" y="396"/>
                        <a:pt x="408" y="380"/>
                      </a:cubicBezTo>
                      <a:cubicBezTo>
                        <a:pt x="395" y="340"/>
                        <a:pt x="397" y="354"/>
                        <a:pt x="452" y="348"/>
                      </a:cubicBezTo>
                      <a:cubicBezTo>
                        <a:pt x="464" y="312"/>
                        <a:pt x="460" y="316"/>
                        <a:pt x="424" y="304"/>
                      </a:cubicBezTo>
                      <a:cubicBezTo>
                        <a:pt x="375" y="320"/>
                        <a:pt x="350" y="278"/>
                        <a:pt x="308" y="264"/>
                      </a:cubicBezTo>
                      <a:cubicBezTo>
                        <a:pt x="295" y="245"/>
                        <a:pt x="302" y="257"/>
                        <a:pt x="292" y="228"/>
                      </a:cubicBezTo>
                      <a:cubicBezTo>
                        <a:pt x="291" y="224"/>
                        <a:pt x="288" y="216"/>
                        <a:pt x="288" y="216"/>
                      </a:cubicBezTo>
                      <a:cubicBezTo>
                        <a:pt x="300" y="204"/>
                        <a:pt x="311" y="200"/>
                        <a:pt x="316" y="184"/>
                      </a:cubicBezTo>
                      <a:cubicBezTo>
                        <a:pt x="307" y="147"/>
                        <a:pt x="267" y="158"/>
                        <a:pt x="240" y="140"/>
                      </a:cubicBezTo>
                      <a:cubicBezTo>
                        <a:pt x="230" y="109"/>
                        <a:pt x="191" y="104"/>
                        <a:pt x="164" y="92"/>
                      </a:cubicBezTo>
                      <a:cubicBezTo>
                        <a:pt x="155" y="88"/>
                        <a:pt x="143" y="77"/>
                        <a:pt x="136" y="84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35" name="Freeform 22"/>
                <p:cNvSpPr>
                  <a:spLocks/>
                </p:cNvSpPr>
                <p:nvPr/>
              </p:nvSpPr>
              <p:spPr bwMode="gray">
                <a:xfrm rot="55551">
                  <a:off x="5232" y="2262"/>
                  <a:ext cx="47" cy="80"/>
                </a:xfrm>
                <a:custGeom>
                  <a:avLst/>
                  <a:gdLst>
                    <a:gd name="T0" fmla="*/ 35 w 48"/>
                    <a:gd name="T1" fmla="*/ 30 h 72"/>
                    <a:gd name="T2" fmla="*/ 21 w 48"/>
                    <a:gd name="T3" fmla="*/ 89 h 72"/>
                    <a:gd name="T4" fmla="*/ 35 w 48"/>
                    <a:gd name="T5" fmla="*/ 30 h 72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48" h="72">
                      <a:moveTo>
                        <a:pt x="37" y="24"/>
                      </a:moveTo>
                      <a:cubicBezTo>
                        <a:pt x="0" y="0"/>
                        <a:pt x="13" y="48"/>
                        <a:pt x="21" y="72"/>
                      </a:cubicBezTo>
                      <a:cubicBezTo>
                        <a:pt x="48" y="63"/>
                        <a:pt x="40" y="51"/>
                        <a:pt x="37" y="24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36" name="Freeform 23"/>
                <p:cNvSpPr>
                  <a:spLocks/>
                </p:cNvSpPr>
                <p:nvPr/>
              </p:nvSpPr>
              <p:spPr bwMode="gray">
                <a:xfrm rot="55551">
                  <a:off x="5264" y="2380"/>
                  <a:ext cx="48" cy="71"/>
                </a:xfrm>
                <a:custGeom>
                  <a:avLst/>
                  <a:gdLst>
                    <a:gd name="T0" fmla="*/ 38 w 50"/>
                    <a:gd name="T1" fmla="*/ 24 h 63"/>
                    <a:gd name="T2" fmla="*/ 6 w 50"/>
                    <a:gd name="T3" fmla="*/ 9 h 63"/>
                    <a:gd name="T4" fmla="*/ 20 w 50"/>
                    <a:gd name="T5" fmla="*/ 80 h 63"/>
                    <a:gd name="T6" fmla="*/ 38 w 50"/>
                    <a:gd name="T7" fmla="*/ 24 h 63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50" h="63">
                      <a:moveTo>
                        <a:pt x="42" y="19"/>
                      </a:moveTo>
                      <a:cubicBezTo>
                        <a:pt x="14" y="1"/>
                        <a:pt x="27" y="0"/>
                        <a:pt x="6" y="7"/>
                      </a:cubicBezTo>
                      <a:cubicBezTo>
                        <a:pt x="0" y="26"/>
                        <a:pt x="5" y="51"/>
                        <a:pt x="22" y="63"/>
                      </a:cubicBezTo>
                      <a:cubicBezTo>
                        <a:pt x="50" y="56"/>
                        <a:pt x="46" y="48"/>
                        <a:pt x="42" y="19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37" name="Freeform 24"/>
                <p:cNvSpPr>
                  <a:spLocks/>
                </p:cNvSpPr>
                <p:nvPr/>
              </p:nvSpPr>
              <p:spPr bwMode="gray">
                <a:xfrm rot="55551">
                  <a:off x="5303" y="2544"/>
                  <a:ext cx="46" cy="117"/>
                </a:xfrm>
                <a:custGeom>
                  <a:avLst/>
                  <a:gdLst>
                    <a:gd name="T0" fmla="*/ 34 w 48"/>
                    <a:gd name="T1" fmla="*/ 87 h 104"/>
                    <a:gd name="T2" fmla="*/ 8 w 48"/>
                    <a:gd name="T3" fmla="*/ 26 h 104"/>
                    <a:gd name="T4" fmla="*/ 0 w 48"/>
                    <a:gd name="T5" fmla="*/ 41 h 104"/>
                    <a:gd name="T6" fmla="*/ 12 w 48"/>
                    <a:gd name="T7" fmla="*/ 101 h 104"/>
                    <a:gd name="T8" fmla="*/ 18 w 48"/>
                    <a:gd name="T9" fmla="*/ 132 h 104"/>
                    <a:gd name="T10" fmla="*/ 34 w 48"/>
                    <a:gd name="T11" fmla="*/ 87 h 10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48" h="104">
                      <a:moveTo>
                        <a:pt x="36" y="68"/>
                      </a:moveTo>
                      <a:cubicBezTo>
                        <a:pt x="34" y="36"/>
                        <a:pt x="48" y="0"/>
                        <a:pt x="8" y="20"/>
                      </a:cubicBezTo>
                      <a:cubicBezTo>
                        <a:pt x="4" y="22"/>
                        <a:pt x="3" y="28"/>
                        <a:pt x="0" y="32"/>
                      </a:cubicBezTo>
                      <a:cubicBezTo>
                        <a:pt x="5" y="64"/>
                        <a:pt x="1" y="48"/>
                        <a:pt x="12" y="80"/>
                      </a:cubicBezTo>
                      <a:cubicBezTo>
                        <a:pt x="15" y="88"/>
                        <a:pt x="20" y="104"/>
                        <a:pt x="20" y="104"/>
                      </a:cubicBezTo>
                      <a:cubicBezTo>
                        <a:pt x="42" y="97"/>
                        <a:pt x="31" y="104"/>
                        <a:pt x="36" y="68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38" name="Freeform 25"/>
                <p:cNvSpPr>
                  <a:spLocks/>
                </p:cNvSpPr>
                <p:nvPr/>
              </p:nvSpPr>
              <p:spPr bwMode="gray">
                <a:xfrm rot="55551">
                  <a:off x="5296" y="2481"/>
                  <a:ext cx="17" cy="26"/>
                </a:xfrm>
                <a:custGeom>
                  <a:avLst/>
                  <a:gdLst>
                    <a:gd name="T0" fmla="*/ 5 w 18"/>
                    <a:gd name="T1" fmla="*/ 0 h 24"/>
                    <a:gd name="T2" fmla="*/ 1 w 18"/>
                    <a:gd name="T3" fmla="*/ 14 h 24"/>
                    <a:gd name="T4" fmla="*/ 9 w 18"/>
                    <a:gd name="T5" fmla="*/ 28 h 24"/>
                    <a:gd name="T6" fmla="*/ 15 w 18"/>
                    <a:gd name="T7" fmla="*/ 14 h 24"/>
                    <a:gd name="T8" fmla="*/ 5 w 18"/>
                    <a:gd name="T9" fmla="*/ 0 h 2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8" h="24">
                      <a:moveTo>
                        <a:pt x="5" y="0"/>
                      </a:moveTo>
                      <a:cubicBezTo>
                        <a:pt x="4" y="4"/>
                        <a:pt x="0" y="8"/>
                        <a:pt x="1" y="12"/>
                      </a:cubicBezTo>
                      <a:cubicBezTo>
                        <a:pt x="2" y="17"/>
                        <a:pt x="4" y="24"/>
                        <a:pt x="9" y="24"/>
                      </a:cubicBezTo>
                      <a:cubicBezTo>
                        <a:pt x="14" y="24"/>
                        <a:pt x="18" y="17"/>
                        <a:pt x="17" y="12"/>
                      </a:cubicBezTo>
                      <a:cubicBezTo>
                        <a:pt x="16" y="6"/>
                        <a:pt x="9" y="4"/>
                        <a:pt x="5" y="0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39" name="Freeform 26"/>
                <p:cNvSpPr>
                  <a:spLocks/>
                </p:cNvSpPr>
                <p:nvPr/>
              </p:nvSpPr>
              <p:spPr bwMode="gray">
                <a:xfrm rot="55551">
                  <a:off x="5325" y="2704"/>
                  <a:ext cx="27" cy="36"/>
                </a:xfrm>
                <a:custGeom>
                  <a:avLst/>
                  <a:gdLst>
                    <a:gd name="T0" fmla="*/ 25 w 28"/>
                    <a:gd name="T1" fmla="*/ 11 h 33"/>
                    <a:gd name="T2" fmla="*/ 21 w 28"/>
                    <a:gd name="T3" fmla="*/ 39 h 33"/>
                    <a:gd name="T4" fmla="*/ 25 w 28"/>
                    <a:gd name="T5" fmla="*/ 11 h 33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8" h="33">
                      <a:moveTo>
                        <a:pt x="27" y="9"/>
                      </a:moveTo>
                      <a:cubicBezTo>
                        <a:pt x="0" y="0"/>
                        <a:pt x="1" y="26"/>
                        <a:pt x="23" y="33"/>
                      </a:cubicBezTo>
                      <a:cubicBezTo>
                        <a:pt x="28" y="17"/>
                        <a:pt x="27" y="25"/>
                        <a:pt x="27" y="9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40" name="Freeform 27"/>
                <p:cNvSpPr>
                  <a:spLocks/>
                </p:cNvSpPr>
                <p:nvPr/>
              </p:nvSpPr>
              <p:spPr bwMode="gray">
                <a:xfrm rot="55551">
                  <a:off x="5295" y="2782"/>
                  <a:ext cx="38" cy="66"/>
                </a:xfrm>
                <a:custGeom>
                  <a:avLst/>
                  <a:gdLst>
                    <a:gd name="T0" fmla="*/ 32 w 39"/>
                    <a:gd name="T1" fmla="*/ 73 h 60"/>
                    <a:gd name="T2" fmla="*/ 14 w 39"/>
                    <a:gd name="T3" fmla="*/ 0 h 60"/>
                    <a:gd name="T4" fmla="*/ 2 w 39"/>
                    <a:gd name="T5" fmla="*/ 4 h 60"/>
                    <a:gd name="T6" fmla="*/ 20 w 39"/>
                    <a:gd name="T7" fmla="*/ 73 h 60"/>
                    <a:gd name="T8" fmla="*/ 32 w 39"/>
                    <a:gd name="T9" fmla="*/ 73 h 6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9" h="60">
                      <a:moveTo>
                        <a:pt x="34" y="60"/>
                      </a:moveTo>
                      <a:cubicBezTo>
                        <a:pt x="32" y="34"/>
                        <a:pt x="39" y="8"/>
                        <a:pt x="14" y="0"/>
                      </a:cubicBezTo>
                      <a:cubicBezTo>
                        <a:pt x="10" y="1"/>
                        <a:pt x="3" y="0"/>
                        <a:pt x="2" y="4"/>
                      </a:cubicBezTo>
                      <a:cubicBezTo>
                        <a:pt x="0" y="15"/>
                        <a:pt x="16" y="52"/>
                        <a:pt x="22" y="60"/>
                      </a:cubicBezTo>
                      <a:cubicBezTo>
                        <a:pt x="36" y="51"/>
                        <a:pt x="34" y="47"/>
                        <a:pt x="34" y="60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41" name="Freeform 28"/>
                <p:cNvSpPr>
                  <a:spLocks/>
                </p:cNvSpPr>
                <p:nvPr/>
              </p:nvSpPr>
              <p:spPr bwMode="gray">
                <a:xfrm rot="55551">
                  <a:off x="5250" y="2916"/>
                  <a:ext cx="63" cy="70"/>
                </a:xfrm>
                <a:custGeom>
                  <a:avLst/>
                  <a:gdLst>
                    <a:gd name="T0" fmla="*/ 43 w 65"/>
                    <a:gd name="T1" fmla="*/ 23 h 62"/>
                    <a:gd name="T2" fmla="*/ 16 w 65"/>
                    <a:gd name="T3" fmla="*/ 8 h 62"/>
                    <a:gd name="T4" fmla="*/ 23 w 65"/>
                    <a:gd name="T5" fmla="*/ 63 h 62"/>
                    <a:gd name="T6" fmla="*/ 35 w 65"/>
                    <a:gd name="T7" fmla="*/ 79 h 62"/>
                    <a:gd name="T8" fmla="*/ 43 w 65"/>
                    <a:gd name="T9" fmla="*/ 23 h 6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65" h="62">
                      <a:moveTo>
                        <a:pt x="45" y="18"/>
                      </a:moveTo>
                      <a:cubicBezTo>
                        <a:pt x="39" y="1"/>
                        <a:pt x="34" y="0"/>
                        <a:pt x="17" y="6"/>
                      </a:cubicBezTo>
                      <a:cubicBezTo>
                        <a:pt x="11" y="25"/>
                        <a:pt x="0" y="42"/>
                        <a:pt x="25" y="50"/>
                      </a:cubicBezTo>
                      <a:cubicBezTo>
                        <a:pt x="29" y="54"/>
                        <a:pt x="31" y="62"/>
                        <a:pt x="37" y="62"/>
                      </a:cubicBezTo>
                      <a:cubicBezTo>
                        <a:pt x="44" y="62"/>
                        <a:pt x="65" y="18"/>
                        <a:pt x="45" y="18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226" name="Group 29"/>
              <p:cNvGrpSpPr>
                <a:grpSpLocks/>
              </p:cNvGrpSpPr>
              <p:nvPr/>
            </p:nvGrpSpPr>
            <p:grpSpPr bwMode="auto">
              <a:xfrm>
                <a:off x="3065463" y="1963738"/>
                <a:ext cx="3233737" cy="3667125"/>
                <a:chOff x="1791" y="1258"/>
                <a:chExt cx="2119" cy="2402"/>
              </a:xfrm>
              <a:grpFill/>
            </p:grpSpPr>
            <p:sp>
              <p:nvSpPr>
                <p:cNvPr id="299" name="Freeform 30"/>
                <p:cNvSpPr>
                  <a:spLocks/>
                </p:cNvSpPr>
                <p:nvPr/>
              </p:nvSpPr>
              <p:spPr bwMode="gray">
                <a:xfrm>
                  <a:off x="2268" y="1530"/>
                  <a:ext cx="848" cy="834"/>
                </a:xfrm>
                <a:custGeom>
                  <a:avLst/>
                  <a:gdLst>
                    <a:gd name="T0" fmla="*/ 501 w 848"/>
                    <a:gd name="T1" fmla="*/ 36 h 834"/>
                    <a:gd name="T2" fmla="*/ 462 w 848"/>
                    <a:gd name="T3" fmla="*/ 144 h 834"/>
                    <a:gd name="T4" fmla="*/ 429 w 848"/>
                    <a:gd name="T5" fmla="*/ 162 h 834"/>
                    <a:gd name="T6" fmla="*/ 384 w 848"/>
                    <a:gd name="T7" fmla="*/ 153 h 834"/>
                    <a:gd name="T8" fmla="*/ 333 w 848"/>
                    <a:gd name="T9" fmla="*/ 183 h 834"/>
                    <a:gd name="T10" fmla="*/ 255 w 848"/>
                    <a:gd name="T11" fmla="*/ 231 h 834"/>
                    <a:gd name="T12" fmla="*/ 210 w 848"/>
                    <a:gd name="T13" fmla="*/ 276 h 834"/>
                    <a:gd name="T14" fmla="*/ 105 w 848"/>
                    <a:gd name="T15" fmla="*/ 345 h 834"/>
                    <a:gd name="T16" fmla="*/ 105 w 848"/>
                    <a:gd name="T17" fmla="*/ 438 h 834"/>
                    <a:gd name="T18" fmla="*/ 117 w 848"/>
                    <a:gd name="T19" fmla="*/ 474 h 834"/>
                    <a:gd name="T20" fmla="*/ 63 w 848"/>
                    <a:gd name="T21" fmla="*/ 429 h 834"/>
                    <a:gd name="T22" fmla="*/ 51 w 848"/>
                    <a:gd name="T23" fmla="*/ 471 h 834"/>
                    <a:gd name="T24" fmla="*/ 60 w 848"/>
                    <a:gd name="T25" fmla="*/ 540 h 834"/>
                    <a:gd name="T26" fmla="*/ 27 w 848"/>
                    <a:gd name="T27" fmla="*/ 600 h 834"/>
                    <a:gd name="T28" fmla="*/ 18 w 848"/>
                    <a:gd name="T29" fmla="*/ 651 h 834"/>
                    <a:gd name="T30" fmla="*/ 33 w 848"/>
                    <a:gd name="T31" fmla="*/ 675 h 834"/>
                    <a:gd name="T32" fmla="*/ 96 w 848"/>
                    <a:gd name="T33" fmla="*/ 717 h 834"/>
                    <a:gd name="T34" fmla="*/ 120 w 848"/>
                    <a:gd name="T35" fmla="*/ 780 h 834"/>
                    <a:gd name="T36" fmla="*/ 153 w 848"/>
                    <a:gd name="T37" fmla="*/ 822 h 834"/>
                    <a:gd name="T38" fmla="*/ 234 w 848"/>
                    <a:gd name="T39" fmla="*/ 828 h 834"/>
                    <a:gd name="T40" fmla="*/ 363 w 848"/>
                    <a:gd name="T41" fmla="*/ 786 h 834"/>
                    <a:gd name="T42" fmla="*/ 420 w 848"/>
                    <a:gd name="T43" fmla="*/ 741 h 834"/>
                    <a:gd name="T44" fmla="*/ 465 w 848"/>
                    <a:gd name="T45" fmla="*/ 663 h 834"/>
                    <a:gd name="T46" fmla="*/ 624 w 848"/>
                    <a:gd name="T47" fmla="*/ 639 h 834"/>
                    <a:gd name="T48" fmla="*/ 738 w 848"/>
                    <a:gd name="T49" fmla="*/ 621 h 834"/>
                    <a:gd name="T50" fmla="*/ 795 w 848"/>
                    <a:gd name="T51" fmla="*/ 570 h 834"/>
                    <a:gd name="T52" fmla="*/ 837 w 848"/>
                    <a:gd name="T53" fmla="*/ 474 h 834"/>
                    <a:gd name="T54" fmla="*/ 768 w 848"/>
                    <a:gd name="T55" fmla="*/ 372 h 834"/>
                    <a:gd name="T56" fmla="*/ 726 w 848"/>
                    <a:gd name="T57" fmla="*/ 288 h 834"/>
                    <a:gd name="T58" fmla="*/ 696 w 848"/>
                    <a:gd name="T59" fmla="*/ 288 h 834"/>
                    <a:gd name="T60" fmla="*/ 741 w 848"/>
                    <a:gd name="T61" fmla="*/ 168 h 834"/>
                    <a:gd name="T62" fmla="*/ 735 w 848"/>
                    <a:gd name="T63" fmla="*/ 123 h 834"/>
                    <a:gd name="T64" fmla="*/ 678 w 848"/>
                    <a:gd name="T65" fmla="*/ 63 h 834"/>
                    <a:gd name="T66" fmla="*/ 588 w 848"/>
                    <a:gd name="T67" fmla="*/ 45 h 834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848" h="834">
                      <a:moveTo>
                        <a:pt x="543" y="0"/>
                      </a:moveTo>
                      <a:cubicBezTo>
                        <a:pt x="526" y="6"/>
                        <a:pt x="517" y="26"/>
                        <a:pt x="501" y="36"/>
                      </a:cubicBezTo>
                      <a:cubicBezTo>
                        <a:pt x="492" y="64"/>
                        <a:pt x="512" y="97"/>
                        <a:pt x="495" y="123"/>
                      </a:cubicBezTo>
                      <a:cubicBezTo>
                        <a:pt x="486" y="137"/>
                        <a:pt x="479" y="138"/>
                        <a:pt x="462" y="144"/>
                      </a:cubicBezTo>
                      <a:cubicBezTo>
                        <a:pt x="459" y="145"/>
                        <a:pt x="453" y="147"/>
                        <a:pt x="453" y="147"/>
                      </a:cubicBezTo>
                      <a:cubicBezTo>
                        <a:pt x="443" y="161"/>
                        <a:pt x="450" y="155"/>
                        <a:pt x="429" y="162"/>
                      </a:cubicBezTo>
                      <a:cubicBezTo>
                        <a:pt x="423" y="164"/>
                        <a:pt x="411" y="168"/>
                        <a:pt x="411" y="168"/>
                      </a:cubicBezTo>
                      <a:cubicBezTo>
                        <a:pt x="402" y="162"/>
                        <a:pt x="393" y="159"/>
                        <a:pt x="384" y="153"/>
                      </a:cubicBezTo>
                      <a:cubicBezTo>
                        <a:pt x="372" y="157"/>
                        <a:pt x="372" y="166"/>
                        <a:pt x="360" y="171"/>
                      </a:cubicBezTo>
                      <a:cubicBezTo>
                        <a:pt x="328" y="185"/>
                        <a:pt x="353" y="169"/>
                        <a:pt x="333" y="183"/>
                      </a:cubicBezTo>
                      <a:cubicBezTo>
                        <a:pt x="324" y="210"/>
                        <a:pt x="318" y="204"/>
                        <a:pt x="291" y="213"/>
                      </a:cubicBezTo>
                      <a:cubicBezTo>
                        <a:pt x="286" y="229"/>
                        <a:pt x="269" y="228"/>
                        <a:pt x="255" y="231"/>
                      </a:cubicBezTo>
                      <a:cubicBezTo>
                        <a:pt x="248" y="241"/>
                        <a:pt x="241" y="245"/>
                        <a:pt x="234" y="255"/>
                      </a:cubicBezTo>
                      <a:cubicBezTo>
                        <a:pt x="246" y="273"/>
                        <a:pt x="224" y="272"/>
                        <a:pt x="210" y="276"/>
                      </a:cubicBezTo>
                      <a:cubicBezTo>
                        <a:pt x="206" y="288"/>
                        <a:pt x="209" y="292"/>
                        <a:pt x="216" y="303"/>
                      </a:cubicBezTo>
                      <a:cubicBezTo>
                        <a:pt x="207" y="359"/>
                        <a:pt x="157" y="343"/>
                        <a:pt x="105" y="345"/>
                      </a:cubicBezTo>
                      <a:cubicBezTo>
                        <a:pt x="94" y="352"/>
                        <a:pt x="88" y="361"/>
                        <a:pt x="81" y="372"/>
                      </a:cubicBezTo>
                      <a:cubicBezTo>
                        <a:pt x="85" y="400"/>
                        <a:pt x="94" y="414"/>
                        <a:pt x="105" y="438"/>
                      </a:cubicBezTo>
                      <a:cubicBezTo>
                        <a:pt x="105" y="438"/>
                        <a:pt x="112" y="460"/>
                        <a:pt x="114" y="465"/>
                      </a:cubicBezTo>
                      <a:cubicBezTo>
                        <a:pt x="115" y="468"/>
                        <a:pt x="117" y="474"/>
                        <a:pt x="117" y="474"/>
                      </a:cubicBezTo>
                      <a:cubicBezTo>
                        <a:pt x="111" y="506"/>
                        <a:pt x="99" y="474"/>
                        <a:pt x="81" y="462"/>
                      </a:cubicBezTo>
                      <a:cubicBezTo>
                        <a:pt x="75" y="445"/>
                        <a:pt x="77" y="438"/>
                        <a:pt x="63" y="429"/>
                      </a:cubicBezTo>
                      <a:cubicBezTo>
                        <a:pt x="55" y="430"/>
                        <a:pt x="44" y="426"/>
                        <a:pt x="39" y="432"/>
                      </a:cubicBezTo>
                      <a:cubicBezTo>
                        <a:pt x="32" y="440"/>
                        <a:pt x="48" y="463"/>
                        <a:pt x="51" y="471"/>
                      </a:cubicBezTo>
                      <a:cubicBezTo>
                        <a:pt x="44" y="491"/>
                        <a:pt x="40" y="478"/>
                        <a:pt x="36" y="504"/>
                      </a:cubicBezTo>
                      <a:cubicBezTo>
                        <a:pt x="40" y="520"/>
                        <a:pt x="46" y="531"/>
                        <a:pt x="60" y="540"/>
                      </a:cubicBezTo>
                      <a:cubicBezTo>
                        <a:pt x="66" y="558"/>
                        <a:pt x="61" y="582"/>
                        <a:pt x="42" y="588"/>
                      </a:cubicBezTo>
                      <a:cubicBezTo>
                        <a:pt x="31" y="605"/>
                        <a:pt x="42" y="591"/>
                        <a:pt x="27" y="600"/>
                      </a:cubicBezTo>
                      <a:cubicBezTo>
                        <a:pt x="21" y="604"/>
                        <a:pt x="9" y="612"/>
                        <a:pt x="9" y="612"/>
                      </a:cubicBezTo>
                      <a:cubicBezTo>
                        <a:pt x="0" y="625"/>
                        <a:pt x="2" y="646"/>
                        <a:pt x="18" y="651"/>
                      </a:cubicBezTo>
                      <a:cubicBezTo>
                        <a:pt x="26" y="674"/>
                        <a:pt x="14" y="647"/>
                        <a:pt x="30" y="666"/>
                      </a:cubicBezTo>
                      <a:cubicBezTo>
                        <a:pt x="32" y="668"/>
                        <a:pt x="31" y="673"/>
                        <a:pt x="33" y="675"/>
                      </a:cubicBezTo>
                      <a:cubicBezTo>
                        <a:pt x="50" y="696"/>
                        <a:pt x="75" y="697"/>
                        <a:pt x="99" y="699"/>
                      </a:cubicBezTo>
                      <a:cubicBezTo>
                        <a:pt x="98" y="705"/>
                        <a:pt x="97" y="711"/>
                        <a:pt x="96" y="717"/>
                      </a:cubicBezTo>
                      <a:cubicBezTo>
                        <a:pt x="94" y="723"/>
                        <a:pt x="90" y="735"/>
                        <a:pt x="90" y="735"/>
                      </a:cubicBezTo>
                      <a:cubicBezTo>
                        <a:pt x="93" y="765"/>
                        <a:pt x="91" y="773"/>
                        <a:pt x="120" y="780"/>
                      </a:cubicBezTo>
                      <a:cubicBezTo>
                        <a:pt x="122" y="786"/>
                        <a:pt x="127" y="811"/>
                        <a:pt x="135" y="816"/>
                      </a:cubicBezTo>
                      <a:cubicBezTo>
                        <a:pt x="140" y="819"/>
                        <a:pt x="153" y="822"/>
                        <a:pt x="153" y="822"/>
                      </a:cubicBezTo>
                      <a:cubicBezTo>
                        <a:pt x="164" y="818"/>
                        <a:pt x="167" y="811"/>
                        <a:pt x="177" y="804"/>
                      </a:cubicBezTo>
                      <a:cubicBezTo>
                        <a:pt x="199" y="808"/>
                        <a:pt x="212" y="824"/>
                        <a:pt x="234" y="828"/>
                      </a:cubicBezTo>
                      <a:cubicBezTo>
                        <a:pt x="265" y="825"/>
                        <a:pt x="294" y="826"/>
                        <a:pt x="324" y="834"/>
                      </a:cubicBezTo>
                      <a:cubicBezTo>
                        <a:pt x="354" y="829"/>
                        <a:pt x="352" y="811"/>
                        <a:pt x="363" y="786"/>
                      </a:cubicBezTo>
                      <a:cubicBezTo>
                        <a:pt x="364" y="783"/>
                        <a:pt x="369" y="763"/>
                        <a:pt x="375" y="759"/>
                      </a:cubicBezTo>
                      <a:cubicBezTo>
                        <a:pt x="389" y="750"/>
                        <a:pt x="406" y="750"/>
                        <a:pt x="420" y="741"/>
                      </a:cubicBezTo>
                      <a:cubicBezTo>
                        <a:pt x="430" y="726"/>
                        <a:pt x="434" y="710"/>
                        <a:pt x="450" y="699"/>
                      </a:cubicBezTo>
                      <a:cubicBezTo>
                        <a:pt x="452" y="694"/>
                        <a:pt x="463" y="664"/>
                        <a:pt x="465" y="663"/>
                      </a:cubicBezTo>
                      <a:cubicBezTo>
                        <a:pt x="485" y="650"/>
                        <a:pt x="508" y="633"/>
                        <a:pt x="531" y="627"/>
                      </a:cubicBezTo>
                      <a:cubicBezTo>
                        <a:pt x="562" y="630"/>
                        <a:pt x="593" y="635"/>
                        <a:pt x="624" y="639"/>
                      </a:cubicBezTo>
                      <a:cubicBezTo>
                        <a:pt x="645" y="646"/>
                        <a:pt x="678" y="631"/>
                        <a:pt x="699" y="624"/>
                      </a:cubicBezTo>
                      <a:cubicBezTo>
                        <a:pt x="711" y="620"/>
                        <a:pt x="725" y="622"/>
                        <a:pt x="738" y="621"/>
                      </a:cubicBezTo>
                      <a:cubicBezTo>
                        <a:pt x="742" y="615"/>
                        <a:pt x="773" y="585"/>
                        <a:pt x="777" y="582"/>
                      </a:cubicBezTo>
                      <a:cubicBezTo>
                        <a:pt x="783" y="578"/>
                        <a:pt x="795" y="570"/>
                        <a:pt x="795" y="570"/>
                      </a:cubicBezTo>
                      <a:cubicBezTo>
                        <a:pt x="798" y="560"/>
                        <a:pt x="804" y="553"/>
                        <a:pt x="807" y="543"/>
                      </a:cubicBezTo>
                      <a:cubicBezTo>
                        <a:pt x="811" y="495"/>
                        <a:pt x="804" y="496"/>
                        <a:pt x="837" y="474"/>
                      </a:cubicBezTo>
                      <a:cubicBezTo>
                        <a:pt x="848" y="458"/>
                        <a:pt x="837" y="436"/>
                        <a:pt x="822" y="426"/>
                      </a:cubicBezTo>
                      <a:cubicBezTo>
                        <a:pt x="812" y="397"/>
                        <a:pt x="795" y="383"/>
                        <a:pt x="768" y="372"/>
                      </a:cubicBezTo>
                      <a:cubicBezTo>
                        <a:pt x="760" y="360"/>
                        <a:pt x="754" y="346"/>
                        <a:pt x="744" y="336"/>
                      </a:cubicBezTo>
                      <a:cubicBezTo>
                        <a:pt x="739" y="320"/>
                        <a:pt x="743" y="294"/>
                        <a:pt x="726" y="288"/>
                      </a:cubicBezTo>
                      <a:cubicBezTo>
                        <a:pt x="705" y="302"/>
                        <a:pt x="713" y="326"/>
                        <a:pt x="684" y="333"/>
                      </a:cubicBezTo>
                      <a:cubicBezTo>
                        <a:pt x="675" y="319"/>
                        <a:pt x="682" y="297"/>
                        <a:pt x="696" y="288"/>
                      </a:cubicBezTo>
                      <a:cubicBezTo>
                        <a:pt x="713" y="263"/>
                        <a:pt x="706" y="230"/>
                        <a:pt x="723" y="204"/>
                      </a:cubicBezTo>
                      <a:cubicBezTo>
                        <a:pt x="730" y="193"/>
                        <a:pt x="736" y="180"/>
                        <a:pt x="741" y="168"/>
                      </a:cubicBezTo>
                      <a:cubicBezTo>
                        <a:pt x="744" y="162"/>
                        <a:pt x="747" y="150"/>
                        <a:pt x="747" y="150"/>
                      </a:cubicBezTo>
                      <a:cubicBezTo>
                        <a:pt x="740" y="129"/>
                        <a:pt x="745" y="137"/>
                        <a:pt x="735" y="123"/>
                      </a:cubicBezTo>
                      <a:cubicBezTo>
                        <a:pt x="732" y="109"/>
                        <a:pt x="732" y="104"/>
                        <a:pt x="720" y="96"/>
                      </a:cubicBezTo>
                      <a:cubicBezTo>
                        <a:pt x="707" y="77"/>
                        <a:pt x="700" y="70"/>
                        <a:pt x="678" y="63"/>
                      </a:cubicBezTo>
                      <a:cubicBezTo>
                        <a:pt x="649" y="65"/>
                        <a:pt x="632" y="73"/>
                        <a:pt x="606" y="69"/>
                      </a:cubicBezTo>
                      <a:cubicBezTo>
                        <a:pt x="602" y="57"/>
                        <a:pt x="598" y="52"/>
                        <a:pt x="588" y="45"/>
                      </a:cubicBezTo>
                      <a:cubicBezTo>
                        <a:pt x="582" y="27"/>
                        <a:pt x="545" y="9"/>
                        <a:pt x="525" y="9"/>
                      </a:cubicBezTo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00" name="Freeform 31"/>
                <p:cNvSpPr>
                  <a:spLocks/>
                </p:cNvSpPr>
                <p:nvPr/>
              </p:nvSpPr>
              <p:spPr bwMode="gray">
                <a:xfrm rot="-62515">
                  <a:off x="1791" y="2926"/>
                  <a:ext cx="266" cy="354"/>
                </a:xfrm>
                <a:custGeom>
                  <a:avLst/>
                  <a:gdLst>
                    <a:gd name="T0" fmla="*/ 228 w 261"/>
                    <a:gd name="T1" fmla="*/ 14 h 328"/>
                    <a:gd name="T2" fmla="*/ 192 w 261"/>
                    <a:gd name="T3" fmla="*/ 42 h 328"/>
                    <a:gd name="T4" fmla="*/ 116 w 261"/>
                    <a:gd name="T5" fmla="*/ 28 h 328"/>
                    <a:gd name="T6" fmla="*/ 92 w 261"/>
                    <a:gd name="T7" fmla="*/ 10 h 328"/>
                    <a:gd name="T8" fmla="*/ 66 w 261"/>
                    <a:gd name="T9" fmla="*/ 0 h 328"/>
                    <a:gd name="T10" fmla="*/ 38 w 261"/>
                    <a:gd name="T11" fmla="*/ 24 h 328"/>
                    <a:gd name="T12" fmla="*/ 62 w 261"/>
                    <a:gd name="T13" fmla="*/ 93 h 328"/>
                    <a:gd name="T14" fmla="*/ 46 w 261"/>
                    <a:gd name="T15" fmla="*/ 131 h 328"/>
                    <a:gd name="T16" fmla="*/ 24 w 261"/>
                    <a:gd name="T17" fmla="*/ 187 h 328"/>
                    <a:gd name="T18" fmla="*/ 0 w 261"/>
                    <a:gd name="T19" fmla="*/ 284 h 328"/>
                    <a:gd name="T20" fmla="*/ 74 w 261"/>
                    <a:gd name="T21" fmla="*/ 336 h 328"/>
                    <a:gd name="T22" fmla="*/ 112 w 261"/>
                    <a:gd name="T23" fmla="*/ 382 h 328"/>
                    <a:gd name="T24" fmla="*/ 182 w 261"/>
                    <a:gd name="T25" fmla="*/ 354 h 328"/>
                    <a:gd name="T26" fmla="*/ 220 w 261"/>
                    <a:gd name="T27" fmla="*/ 358 h 328"/>
                    <a:gd name="T28" fmla="*/ 204 w 261"/>
                    <a:gd name="T29" fmla="*/ 275 h 328"/>
                    <a:gd name="T30" fmla="*/ 254 w 261"/>
                    <a:gd name="T31" fmla="*/ 215 h 328"/>
                    <a:gd name="T32" fmla="*/ 258 w 261"/>
                    <a:gd name="T33" fmla="*/ 181 h 328"/>
                    <a:gd name="T34" fmla="*/ 270 w 261"/>
                    <a:gd name="T35" fmla="*/ 153 h 328"/>
                    <a:gd name="T36" fmla="*/ 246 w 261"/>
                    <a:gd name="T37" fmla="*/ 98 h 328"/>
                    <a:gd name="T38" fmla="*/ 228 w 261"/>
                    <a:gd name="T39" fmla="*/ 14 h 328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0" t="0" r="r" b="b"/>
                  <a:pathLst>
                    <a:path w="261" h="328">
                      <a:moveTo>
                        <a:pt x="220" y="12"/>
                      </a:moveTo>
                      <a:cubicBezTo>
                        <a:pt x="207" y="21"/>
                        <a:pt x="199" y="31"/>
                        <a:pt x="184" y="36"/>
                      </a:cubicBezTo>
                      <a:cubicBezTo>
                        <a:pt x="161" y="28"/>
                        <a:pt x="136" y="30"/>
                        <a:pt x="112" y="24"/>
                      </a:cubicBezTo>
                      <a:cubicBezTo>
                        <a:pt x="104" y="19"/>
                        <a:pt x="97" y="11"/>
                        <a:pt x="88" y="8"/>
                      </a:cubicBezTo>
                      <a:cubicBezTo>
                        <a:pt x="80" y="5"/>
                        <a:pt x="64" y="0"/>
                        <a:pt x="64" y="0"/>
                      </a:cubicBezTo>
                      <a:cubicBezTo>
                        <a:pt x="36" y="9"/>
                        <a:pt x="43" y="0"/>
                        <a:pt x="36" y="20"/>
                      </a:cubicBezTo>
                      <a:cubicBezTo>
                        <a:pt x="39" y="41"/>
                        <a:pt x="37" y="72"/>
                        <a:pt x="60" y="80"/>
                      </a:cubicBezTo>
                      <a:cubicBezTo>
                        <a:pt x="66" y="98"/>
                        <a:pt x="59" y="102"/>
                        <a:pt x="44" y="112"/>
                      </a:cubicBezTo>
                      <a:cubicBezTo>
                        <a:pt x="38" y="129"/>
                        <a:pt x="29" y="143"/>
                        <a:pt x="24" y="160"/>
                      </a:cubicBezTo>
                      <a:cubicBezTo>
                        <a:pt x="16" y="189"/>
                        <a:pt x="17" y="219"/>
                        <a:pt x="0" y="244"/>
                      </a:cubicBezTo>
                      <a:cubicBezTo>
                        <a:pt x="9" y="281"/>
                        <a:pt x="41" y="278"/>
                        <a:pt x="72" y="288"/>
                      </a:cubicBezTo>
                      <a:cubicBezTo>
                        <a:pt x="87" y="303"/>
                        <a:pt x="88" y="321"/>
                        <a:pt x="108" y="328"/>
                      </a:cubicBezTo>
                      <a:cubicBezTo>
                        <a:pt x="134" y="323"/>
                        <a:pt x="152" y="312"/>
                        <a:pt x="176" y="304"/>
                      </a:cubicBezTo>
                      <a:cubicBezTo>
                        <a:pt x="188" y="305"/>
                        <a:pt x="203" y="316"/>
                        <a:pt x="212" y="308"/>
                      </a:cubicBezTo>
                      <a:cubicBezTo>
                        <a:pt x="218" y="303"/>
                        <a:pt x="199" y="249"/>
                        <a:pt x="196" y="236"/>
                      </a:cubicBezTo>
                      <a:cubicBezTo>
                        <a:pt x="201" y="193"/>
                        <a:pt x="203" y="191"/>
                        <a:pt x="244" y="184"/>
                      </a:cubicBezTo>
                      <a:cubicBezTo>
                        <a:pt x="235" y="156"/>
                        <a:pt x="228" y="163"/>
                        <a:pt x="248" y="156"/>
                      </a:cubicBezTo>
                      <a:cubicBezTo>
                        <a:pt x="251" y="152"/>
                        <a:pt x="261" y="139"/>
                        <a:pt x="260" y="132"/>
                      </a:cubicBezTo>
                      <a:cubicBezTo>
                        <a:pt x="258" y="119"/>
                        <a:pt x="242" y="98"/>
                        <a:pt x="236" y="84"/>
                      </a:cubicBezTo>
                      <a:cubicBezTo>
                        <a:pt x="226" y="62"/>
                        <a:pt x="220" y="36"/>
                        <a:pt x="220" y="12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01" name="Freeform 32"/>
                <p:cNvSpPr>
                  <a:spLocks/>
                </p:cNvSpPr>
                <p:nvPr/>
              </p:nvSpPr>
              <p:spPr bwMode="gray">
                <a:xfrm rot="-62515">
                  <a:off x="2003" y="2788"/>
                  <a:ext cx="543" cy="392"/>
                </a:xfrm>
                <a:custGeom>
                  <a:avLst/>
                  <a:gdLst>
                    <a:gd name="T0" fmla="*/ 134 w 534"/>
                    <a:gd name="T1" fmla="*/ 2 h 363"/>
                    <a:gd name="T2" fmla="*/ 106 w 534"/>
                    <a:gd name="T3" fmla="*/ 30 h 363"/>
                    <a:gd name="T4" fmla="*/ 94 w 534"/>
                    <a:gd name="T5" fmla="*/ 58 h 363"/>
                    <a:gd name="T6" fmla="*/ 84 w 534"/>
                    <a:gd name="T7" fmla="*/ 86 h 363"/>
                    <a:gd name="T8" fmla="*/ 48 w 534"/>
                    <a:gd name="T9" fmla="*/ 105 h 363"/>
                    <a:gd name="T10" fmla="*/ 18 w 534"/>
                    <a:gd name="T11" fmla="*/ 157 h 363"/>
                    <a:gd name="T12" fmla="*/ 32 w 534"/>
                    <a:gd name="T13" fmla="*/ 245 h 363"/>
                    <a:gd name="T14" fmla="*/ 48 w 534"/>
                    <a:gd name="T15" fmla="*/ 287 h 363"/>
                    <a:gd name="T16" fmla="*/ 176 w 534"/>
                    <a:gd name="T17" fmla="*/ 315 h 363"/>
                    <a:gd name="T18" fmla="*/ 234 w 534"/>
                    <a:gd name="T19" fmla="*/ 366 h 363"/>
                    <a:gd name="T20" fmla="*/ 270 w 534"/>
                    <a:gd name="T21" fmla="*/ 370 h 363"/>
                    <a:gd name="T22" fmla="*/ 308 w 534"/>
                    <a:gd name="T23" fmla="*/ 390 h 363"/>
                    <a:gd name="T24" fmla="*/ 333 w 534"/>
                    <a:gd name="T25" fmla="*/ 422 h 363"/>
                    <a:gd name="T26" fmla="*/ 424 w 534"/>
                    <a:gd name="T27" fmla="*/ 398 h 363"/>
                    <a:gd name="T28" fmla="*/ 515 w 534"/>
                    <a:gd name="T29" fmla="*/ 376 h 363"/>
                    <a:gd name="T30" fmla="*/ 544 w 534"/>
                    <a:gd name="T31" fmla="*/ 334 h 363"/>
                    <a:gd name="T32" fmla="*/ 552 w 534"/>
                    <a:gd name="T33" fmla="*/ 320 h 363"/>
                    <a:gd name="T34" fmla="*/ 540 w 534"/>
                    <a:gd name="T35" fmla="*/ 268 h 363"/>
                    <a:gd name="T36" fmla="*/ 502 w 534"/>
                    <a:gd name="T37" fmla="*/ 249 h 363"/>
                    <a:gd name="T38" fmla="*/ 536 w 534"/>
                    <a:gd name="T39" fmla="*/ 193 h 363"/>
                    <a:gd name="T40" fmla="*/ 498 w 534"/>
                    <a:gd name="T41" fmla="*/ 151 h 363"/>
                    <a:gd name="T42" fmla="*/ 432 w 534"/>
                    <a:gd name="T43" fmla="*/ 96 h 363"/>
                    <a:gd name="T44" fmla="*/ 395 w 534"/>
                    <a:gd name="T45" fmla="*/ 105 h 363"/>
                    <a:gd name="T46" fmla="*/ 362 w 534"/>
                    <a:gd name="T47" fmla="*/ 30 h 363"/>
                    <a:gd name="T48" fmla="*/ 308 w 534"/>
                    <a:gd name="T49" fmla="*/ 35 h 363"/>
                    <a:gd name="T50" fmla="*/ 284 w 534"/>
                    <a:gd name="T51" fmla="*/ 44 h 363"/>
                    <a:gd name="T52" fmla="*/ 242 w 534"/>
                    <a:gd name="T53" fmla="*/ 26 h 363"/>
                    <a:gd name="T54" fmla="*/ 230 w 534"/>
                    <a:gd name="T55" fmla="*/ 16 h 363"/>
                    <a:gd name="T56" fmla="*/ 213 w 534"/>
                    <a:gd name="T57" fmla="*/ 44 h 363"/>
                    <a:gd name="T58" fmla="*/ 160 w 534"/>
                    <a:gd name="T59" fmla="*/ 12 h 363"/>
                    <a:gd name="T60" fmla="*/ 134 w 534"/>
                    <a:gd name="T61" fmla="*/ 2 h 363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0" t="0" r="r" b="b"/>
                  <a:pathLst>
                    <a:path w="534" h="363">
                      <a:moveTo>
                        <a:pt x="130" y="2"/>
                      </a:moveTo>
                      <a:cubicBezTo>
                        <a:pt x="113" y="8"/>
                        <a:pt x="117" y="16"/>
                        <a:pt x="102" y="26"/>
                      </a:cubicBezTo>
                      <a:cubicBezTo>
                        <a:pt x="87" y="70"/>
                        <a:pt x="111" y="3"/>
                        <a:pt x="90" y="50"/>
                      </a:cubicBezTo>
                      <a:cubicBezTo>
                        <a:pt x="87" y="58"/>
                        <a:pt x="89" y="69"/>
                        <a:pt x="82" y="74"/>
                      </a:cubicBezTo>
                      <a:cubicBezTo>
                        <a:pt x="71" y="81"/>
                        <a:pt x="46" y="90"/>
                        <a:pt x="46" y="90"/>
                      </a:cubicBezTo>
                      <a:cubicBezTo>
                        <a:pt x="34" y="107"/>
                        <a:pt x="36" y="122"/>
                        <a:pt x="18" y="134"/>
                      </a:cubicBezTo>
                      <a:cubicBezTo>
                        <a:pt x="0" y="161"/>
                        <a:pt x="19" y="185"/>
                        <a:pt x="30" y="210"/>
                      </a:cubicBezTo>
                      <a:cubicBezTo>
                        <a:pt x="32" y="214"/>
                        <a:pt x="38" y="241"/>
                        <a:pt x="46" y="246"/>
                      </a:cubicBezTo>
                      <a:cubicBezTo>
                        <a:pt x="83" y="269"/>
                        <a:pt x="129" y="268"/>
                        <a:pt x="170" y="270"/>
                      </a:cubicBezTo>
                      <a:cubicBezTo>
                        <a:pt x="194" y="286"/>
                        <a:pt x="194" y="309"/>
                        <a:pt x="226" y="314"/>
                      </a:cubicBezTo>
                      <a:cubicBezTo>
                        <a:pt x="238" y="316"/>
                        <a:pt x="250" y="317"/>
                        <a:pt x="262" y="318"/>
                      </a:cubicBezTo>
                      <a:cubicBezTo>
                        <a:pt x="291" y="328"/>
                        <a:pt x="279" y="321"/>
                        <a:pt x="298" y="334"/>
                      </a:cubicBezTo>
                      <a:cubicBezTo>
                        <a:pt x="308" y="363"/>
                        <a:pt x="298" y="356"/>
                        <a:pt x="322" y="362"/>
                      </a:cubicBezTo>
                      <a:cubicBezTo>
                        <a:pt x="352" y="358"/>
                        <a:pt x="380" y="347"/>
                        <a:pt x="410" y="342"/>
                      </a:cubicBezTo>
                      <a:cubicBezTo>
                        <a:pt x="428" y="314"/>
                        <a:pt x="467" y="324"/>
                        <a:pt x="498" y="322"/>
                      </a:cubicBezTo>
                      <a:cubicBezTo>
                        <a:pt x="517" y="303"/>
                        <a:pt x="507" y="315"/>
                        <a:pt x="526" y="286"/>
                      </a:cubicBezTo>
                      <a:cubicBezTo>
                        <a:pt x="529" y="282"/>
                        <a:pt x="534" y="274"/>
                        <a:pt x="534" y="274"/>
                      </a:cubicBezTo>
                      <a:cubicBezTo>
                        <a:pt x="533" y="269"/>
                        <a:pt x="526" y="231"/>
                        <a:pt x="522" y="230"/>
                      </a:cubicBezTo>
                      <a:cubicBezTo>
                        <a:pt x="493" y="220"/>
                        <a:pt x="505" y="227"/>
                        <a:pt x="486" y="214"/>
                      </a:cubicBezTo>
                      <a:cubicBezTo>
                        <a:pt x="476" y="185"/>
                        <a:pt x="498" y="179"/>
                        <a:pt x="518" y="166"/>
                      </a:cubicBezTo>
                      <a:cubicBezTo>
                        <a:pt x="511" y="146"/>
                        <a:pt x="502" y="137"/>
                        <a:pt x="482" y="130"/>
                      </a:cubicBezTo>
                      <a:cubicBezTo>
                        <a:pt x="467" y="107"/>
                        <a:pt x="445" y="91"/>
                        <a:pt x="418" y="82"/>
                      </a:cubicBezTo>
                      <a:cubicBezTo>
                        <a:pt x="402" y="87"/>
                        <a:pt x="399" y="96"/>
                        <a:pt x="382" y="90"/>
                      </a:cubicBezTo>
                      <a:cubicBezTo>
                        <a:pt x="372" y="60"/>
                        <a:pt x="397" y="38"/>
                        <a:pt x="350" y="26"/>
                      </a:cubicBezTo>
                      <a:cubicBezTo>
                        <a:pt x="330" y="12"/>
                        <a:pt x="318" y="21"/>
                        <a:pt x="298" y="30"/>
                      </a:cubicBezTo>
                      <a:cubicBezTo>
                        <a:pt x="290" y="33"/>
                        <a:pt x="274" y="38"/>
                        <a:pt x="274" y="38"/>
                      </a:cubicBezTo>
                      <a:cubicBezTo>
                        <a:pt x="260" y="29"/>
                        <a:pt x="250" y="26"/>
                        <a:pt x="234" y="22"/>
                      </a:cubicBezTo>
                      <a:cubicBezTo>
                        <a:pt x="230" y="19"/>
                        <a:pt x="226" y="12"/>
                        <a:pt x="222" y="14"/>
                      </a:cubicBezTo>
                      <a:cubicBezTo>
                        <a:pt x="214" y="19"/>
                        <a:pt x="206" y="38"/>
                        <a:pt x="206" y="38"/>
                      </a:cubicBezTo>
                      <a:cubicBezTo>
                        <a:pt x="192" y="17"/>
                        <a:pt x="178" y="15"/>
                        <a:pt x="154" y="10"/>
                      </a:cubicBezTo>
                      <a:cubicBezTo>
                        <a:pt x="139" y="0"/>
                        <a:pt x="147" y="2"/>
                        <a:pt x="130" y="2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02" name="Freeform 33"/>
                <p:cNvSpPr>
                  <a:spLocks/>
                </p:cNvSpPr>
                <p:nvPr/>
              </p:nvSpPr>
              <p:spPr bwMode="gray">
                <a:xfrm rot="-62515">
                  <a:off x="1984" y="3058"/>
                  <a:ext cx="385" cy="278"/>
                </a:xfrm>
                <a:custGeom>
                  <a:avLst/>
                  <a:gdLst>
                    <a:gd name="T0" fmla="*/ 382 w 378"/>
                    <a:gd name="T1" fmla="*/ 230 h 257"/>
                    <a:gd name="T2" fmla="*/ 378 w 378"/>
                    <a:gd name="T3" fmla="*/ 123 h 257"/>
                    <a:gd name="T4" fmla="*/ 336 w 378"/>
                    <a:gd name="T5" fmla="*/ 114 h 257"/>
                    <a:gd name="T6" fmla="*/ 240 w 378"/>
                    <a:gd name="T7" fmla="*/ 67 h 257"/>
                    <a:gd name="T8" fmla="*/ 112 w 378"/>
                    <a:gd name="T9" fmla="*/ 11 h 257"/>
                    <a:gd name="T10" fmla="*/ 50 w 378"/>
                    <a:gd name="T11" fmla="*/ 19 h 257"/>
                    <a:gd name="T12" fmla="*/ 46 w 378"/>
                    <a:gd name="T13" fmla="*/ 62 h 257"/>
                    <a:gd name="T14" fmla="*/ 0 w 378"/>
                    <a:gd name="T15" fmla="*/ 118 h 257"/>
                    <a:gd name="T16" fmla="*/ 42 w 378"/>
                    <a:gd name="T17" fmla="*/ 226 h 257"/>
                    <a:gd name="T18" fmla="*/ 54 w 378"/>
                    <a:gd name="T19" fmla="*/ 263 h 257"/>
                    <a:gd name="T20" fmla="*/ 92 w 378"/>
                    <a:gd name="T21" fmla="*/ 287 h 257"/>
                    <a:gd name="T22" fmla="*/ 132 w 378"/>
                    <a:gd name="T23" fmla="*/ 273 h 257"/>
                    <a:gd name="T24" fmla="*/ 186 w 378"/>
                    <a:gd name="T25" fmla="*/ 273 h 257"/>
                    <a:gd name="T26" fmla="*/ 220 w 378"/>
                    <a:gd name="T27" fmla="*/ 244 h 257"/>
                    <a:gd name="T28" fmla="*/ 262 w 378"/>
                    <a:gd name="T29" fmla="*/ 291 h 257"/>
                    <a:gd name="T30" fmla="*/ 286 w 378"/>
                    <a:gd name="T31" fmla="*/ 301 h 257"/>
                    <a:gd name="T32" fmla="*/ 328 w 378"/>
                    <a:gd name="T33" fmla="*/ 263 h 257"/>
                    <a:gd name="T34" fmla="*/ 382 w 378"/>
                    <a:gd name="T35" fmla="*/ 259 h 257"/>
                    <a:gd name="T36" fmla="*/ 382 w 378"/>
                    <a:gd name="T37" fmla="*/ 230 h 257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0" t="0" r="r" b="b"/>
                  <a:pathLst>
                    <a:path w="378" h="257">
                      <a:moveTo>
                        <a:pt x="368" y="197"/>
                      </a:moveTo>
                      <a:cubicBezTo>
                        <a:pt x="378" y="167"/>
                        <a:pt x="374" y="135"/>
                        <a:pt x="364" y="105"/>
                      </a:cubicBezTo>
                      <a:cubicBezTo>
                        <a:pt x="347" y="111"/>
                        <a:pt x="339" y="107"/>
                        <a:pt x="324" y="97"/>
                      </a:cubicBezTo>
                      <a:cubicBezTo>
                        <a:pt x="311" y="58"/>
                        <a:pt x="264" y="68"/>
                        <a:pt x="232" y="57"/>
                      </a:cubicBezTo>
                      <a:cubicBezTo>
                        <a:pt x="203" y="13"/>
                        <a:pt x="155" y="14"/>
                        <a:pt x="108" y="9"/>
                      </a:cubicBezTo>
                      <a:cubicBezTo>
                        <a:pt x="81" y="0"/>
                        <a:pt x="71" y="1"/>
                        <a:pt x="48" y="17"/>
                      </a:cubicBezTo>
                      <a:cubicBezTo>
                        <a:pt x="39" y="45"/>
                        <a:pt x="37" y="33"/>
                        <a:pt x="44" y="53"/>
                      </a:cubicBezTo>
                      <a:cubicBezTo>
                        <a:pt x="21" y="68"/>
                        <a:pt x="10" y="72"/>
                        <a:pt x="0" y="101"/>
                      </a:cubicBezTo>
                      <a:cubicBezTo>
                        <a:pt x="9" y="129"/>
                        <a:pt x="15" y="176"/>
                        <a:pt x="40" y="193"/>
                      </a:cubicBezTo>
                      <a:cubicBezTo>
                        <a:pt x="46" y="202"/>
                        <a:pt x="45" y="216"/>
                        <a:pt x="52" y="225"/>
                      </a:cubicBezTo>
                      <a:cubicBezTo>
                        <a:pt x="62" y="237"/>
                        <a:pt x="75" y="241"/>
                        <a:pt x="88" y="245"/>
                      </a:cubicBezTo>
                      <a:cubicBezTo>
                        <a:pt x="102" y="242"/>
                        <a:pt x="128" y="233"/>
                        <a:pt x="128" y="233"/>
                      </a:cubicBezTo>
                      <a:cubicBezTo>
                        <a:pt x="141" y="235"/>
                        <a:pt x="166" y="241"/>
                        <a:pt x="180" y="233"/>
                      </a:cubicBezTo>
                      <a:cubicBezTo>
                        <a:pt x="192" y="226"/>
                        <a:pt x="193" y="215"/>
                        <a:pt x="212" y="209"/>
                      </a:cubicBezTo>
                      <a:cubicBezTo>
                        <a:pt x="234" y="216"/>
                        <a:pt x="233" y="239"/>
                        <a:pt x="252" y="249"/>
                      </a:cubicBezTo>
                      <a:cubicBezTo>
                        <a:pt x="259" y="253"/>
                        <a:pt x="276" y="257"/>
                        <a:pt x="276" y="257"/>
                      </a:cubicBezTo>
                      <a:cubicBezTo>
                        <a:pt x="296" y="250"/>
                        <a:pt x="295" y="228"/>
                        <a:pt x="316" y="225"/>
                      </a:cubicBezTo>
                      <a:cubicBezTo>
                        <a:pt x="333" y="223"/>
                        <a:pt x="351" y="222"/>
                        <a:pt x="368" y="221"/>
                      </a:cubicBezTo>
                      <a:cubicBezTo>
                        <a:pt x="373" y="205"/>
                        <a:pt x="373" y="213"/>
                        <a:pt x="368" y="197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03" name="Freeform 34"/>
                <p:cNvSpPr>
                  <a:spLocks/>
                </p:cNvSpPr>
                <p:nvPr/>
              </p:nvSpPr>
              <p:spPr bwMode="gray">
                <a:xfrm rot="-62515">
                  <a:off x="2061" y="3287"/>
                  <a:ext cx="391" cy="272"/>
                </a:xfrm>
                <a:custGeom>
                  <a:avLst/>
                  <a:gdLst>
                    <a:gd name="T0" fmla="*/ 5 w 385"/>
                    <a:gd name="T1" fmla="*/ 117 h 252"/>
                    <a:gd name="T2" fmla="*/ 13 w 385"/>
                    <a:gd name="T3" fmla="*/ 46 h 252"/>
                    <a:gd name="T4" fmla="*/ 105 w 385"/>
                    <a:gd name="T5" fmla="*/ 18 h 252"/>
                    <a:gd name="T6" fmla="*/ 153 w 385"/>
                    <a:gd name="T7" fmla="*/ 10 h 252"/>
                    <a:gd name="T8" fmla="*/ 167 w 385"/>
                    <a:gd name="T9" fmla="*/ 18 h 252"/>
                    <a:gd name="T10" fmla="*/ 175 w 385"/>
                    <a:gd name="T11" fmla="*/ 32 h 252"/>
                    <a:gd name="T12" fmla="*/ 211 w 385"/>
                    <a:gd name="T13" fmla="*/ 51 h 252"/>
                    <a:gd name="T14" fmla="*/ 311 w 385"/>
                    <a:gd name="T15" fmla="*/ 4 h 252"/>
                    <a:gd name="T16" fmla="*/ 339 w 385"/>
                    <a:gd name="T17" fmla="*/ 24 h 252"/>
                    <a:gd name="T18" fmla="*/ 365 w 385"/>
                    <a:gd name="T19" fmla="*/ 38 h 252"/>
                    <a:gd name="T20" fmla="*/ 373 w 385"/>
                    <a:gd name="T21" fmla="*/ 51 h 252"/>
                    <a:gd name="T22" fmla="*/ 385 w 385"/>
                    <a:gd name="T23" fmla="*/ 60 h 252"/>
                    <a:gd name="T24" fmla="*/ 397 w 385"/>
                    <a:gd name="T25" fmla="*/ 107 h 252"/>
                    <a:gd name="T26" fmla="*/ 335 w 385"/>
                    <a:gd name="T27" fmla="*/ 187 h 252"/>
                    <a:gd name="T28" fmla="*/ 269 w 385"/>
                    <a:gd name="T29" fmla="*/ 237 h 252"/>
                    <a:gd name="T30" fmla="*/ 257 w 385"/>
                    <a:gd name="T31" fmla="*/ 294 h 252"/>
                    <a:gd name="T32" fmla="*/ 175 w 385"/>
                    <a:gd name="T33" fmla="*/ 261 h 252"/>
                    <a:gd name="T34" fmla="*/ 149 w 385"/>
                    <a:gd name="T35" fmla="*/ 251 h 252"/>
                    <a:gd name="T36" fmla="*/ 145 w 385"/>
                    <a:gd name="T37" fmla="*/ 237 h 252"/>
                    <a:gd name="T38" fmla="*/ 133 w 385"/>
                    <a:gd name="T39" fmla="*/ 233 h 252"/>
                    <a:gd name="T40" fmla="*/ 129 w 385"/>
                    <a:gd name="T41" fmla="*/ 219 h 252"/>
                    <a:gd name="T42" fmla="*/ 105 w 385"/>
                    <a:gd name="T43" fmla="*/ 209 h 252"/>
                    <a:gd name="T44" fmla="*/ 75 w 385"/>
                    <a:gd name="T45" fmla="*/ 237 h 252"/>
                    <a:gd name="T46" fmla="*/ 9 w 385"/>
                    <a:gd name="T47" fmla="*/ 135 h 252"/>
                    <a:gd name="T48" fmla="*/ 5 w 385"/>
                    <a:gd name="T49" fmla="*/ 117 h 252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0" t="0" r="r" b="b"/>
                  <a:pathLst>
                    <a:path w="385" h="252">
                      <a:moveTo>
                        <a:pt x="5" y="100"/>
                      </a:moveTo>
                      <a:cubicBezTo>
                        <a:pt x="7" y="80"/>
                        <a:pt x="0" y="56"/>
                        <a:pt x="13" y="40"/>
                      </a:cubicBezTo>
                      <a:cubicBezTo>
                        <a:pt x="30" y="19"/>
                        <a:pt x="79" y="18"/>
                        <a:pt x="101" y="16"/>
                      </a:cubicBezTo>
                      <a:cubicBezTo>
                        <a:pt x="121" y="3"/>
                        <a:pt x="124" y="4"/>
                        <a:pt x="149" y="8"/>
                      </a:cubicBezTo>
                      <a:cubicBezTo>
                        <a:pt x="153" y="11"/>
                        <a:pt x="158" y="13"/>
                        <a:pt x="161" y="16"/>
                      </a:cubicBezTo>
                      <a:cubicBezTo>
                        <a:pt x="164" y="19"/>
                        <a:pt x="165" y="25"/>
                        <a:pt x="169" y="28"/>
                      </a:cubicBezTo>
                      <a:cubicBezTo>
                        <a:pt x="177" y="34"/>
                        <a:pt x="195" y="41"/>
                        <a:pt x="205" y="44"/>
                      </a:cubicBezTo>
                      <a:cubicBezTo>
                        <a:pt x="225" y="13"/>
                        <a:pt x="268" y="12"/>
                        <a:pt x="301" y="4"/>
                      </a:cubicBezTo>
                      <a:cubicBezTo>
                        <a:pt x="345" y="13"/>
                        <a:pt x="303" y="0"/>
                        <a:pt x="329" y="20"/>
                      </a:cubicBezTo>
                      <a:cubicBezTo>
                        <a:pt x="336" y="26"/>
                        <a:pt x="346" y="27"/>
                        <a:pt x="353" y="32"/>
                      </a:cubicBezTo>
                      <a:cubicBezTo>
                        <a:pt x="356" y="36"/>
                        <a:pt x="358" y="41"/>
                        <a:pt x="361" y="44"/>
                      </a:cubicBezTo>
                      <a:cubicBezTo>
                        <a:pt x="364" y="47"/>
                        <a:pt x="370" y="48"/>
                        <a:pt x="373" y="52"/>
                      </a:cubicBezTo>
                      <a:cubicBezTo>
                        <a:pt x="380" y="61"/>
                        <a:pt x="381" y="81"/>
                        <a:pt x="385" y="92"/>
                      </a:cubicBezTo>
                      <a:cubicBezTo>
                        <a:pt x="379" y="135"/>
                        <a:pt x="369" y="151"/>
                        <a:pt x="325" y="160"/>
                      </a:cubicBezTo>
                      <a:cubicBezTo>
                        <a:pt x="293" y="207"/>
                        <a:pt x="331" y="196"/>
                        <a:pt x="261" y="204"/>
                      </a:cubicBezTo>
                      <a:cubicBezTo>
                        <a:pt x="255" y="223"/>
                        <a:pt x="278" y="242"/>
                        <a:pt x="249" y="252"/>
                      </a:cubicBezTo>
                      <a:cubicBezTo>
                        <a:pt x="229" y="222"/>
                        <a:pt x="205" y="227"/>
                        <a:pt x="169" y="224"/>
                      </a:cubicBezTo>
                      <a:cubicBezTo>
                        <a:pt x="161" y="221"/>
                        <a:pt x="153" y="219"/>
                        <a:pt x="145" y="216"/>
                      </a:cubicBezTo>
                      <a:cubicBezTo>
                        <a:pt x="141" y="215"/>
                        <a:pt x="144" y="207"/>
                        <a:pt x="141" y="204"/>
                      </a:cubicBezTo>
                      <a:cubicBezTo>
                        <a:pt x="138" y="201"/>
                        <a:pt x="133" y="201"/>
                        <a:pt x="129" y="200"/>
                      </a:cubicBezTo>
                      <a:cubicBezTo>
                        <a:pt x="128" y="196"/>
                        <a:pt x="128" y="190"/>
                        <a:pt x="125" y="188"/>
                      </a:cubicBezTo>
                      <a:cubicBezTo>
                        <a:pt x="118" y="183"/>
                        <a:pt x="101" y="180"/>
                        <a:pt x="101" y="180"/>
                      </a:cubicBezTo>
                      <a:cubicBezTo>
                        <a:pt x="84" y="186"/>
                        <a:pt x="88" y="194"/>
                        <a:pt x="73" y="204"/>
                      </a:cubicBezTo>
                      <a:cubicBezTo>
                        <a:pt x="29" y="189"/>
                        <a:pt x="49" y="143"/>
                        <a:pt x="9" y="116"/>
                      </a:cubicBezTo>
                      <a:cubicBezTo>
                        <a:pt x="5" y="103"/>
                        <a:pt x="5" y="108"/>
                        <a:pt x="5" y="100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04" name="Freeform 35"/>
                <p:cNvSpPr>
                  <a:spLocks/>
                </p:cNvSpPr>
                <p:nvPr/>
              </p:nvSpPr>
              <p:spPr bwMode="gray">
                <a:xfrm rot="-62515">
                  <a:off x="2308" y="3409"/>
                  <a:ext cx="268" cy="251"/>
                </a:xfrm>
                <a:custGeom>
                  <a:avLst/>
                  <a:gdLst>
                    <a:gd name="T0" fmla="*/ 190 w 264"/>
                    <a:gd name="T1" fmla="*/ 38 h 232"/>
                    <a:gd name="T2" fmla="*/ 152 w 264"/>
                    <a:gd name="T3" fmla="*/ 0 h 232"/>
                    <a:gd name="T4" fmla="*/ 104 w 264"/>
                    <a:gd name="T5" fmla="*/ 38 h 232"/>
                    <a:gd name="T6" fmla="*/ 78 w 264"/>
                    <a:gd name="T7" fmla="*/ 56 h 232"/>
                    <a:gd name="T8" fmla="*/ 66 w 264"/>
                    <a:gd name="T9" fmla="*/ 66 h 232"/>
                    <a:gd name="T10" fmla="*/ 12 w 264"/>
                    <a:gd name="T11" fmla="*/ 113 h 232"/>
                    <a:gd name="T12" fmla="*/ 0 w 264"/>
                    <a:gd name="T13" fmla="*/ 159 h 232"/>
                    <a:gd name="T14" fmla="*/ 12 w 264"/>
                    <a:gd name="T15" fmla="*/ 201 h 232"/>
                    <a:gd name="T16" fmla="*/ 38 w 264"/>
                    <a:gd name="T17" fmla="*/ 211 h 232"/>
                    <a:gd name="T18" fmla="*/ 50 w 264"/>
                    <a:gd name="T19" fmla="*/ 215 h 232"/>
                    <a:gd name="T20" fmla="*/ 66 w 264"/>
                    <a:gd name="T21" fmla="*/ 243 h 232"/>
                    <a:gd name="T22" fmla="*/ 90 w 264"/>
                    <a:gd name="T23" fmla="*/ 253 h 232"/>
                    <a:gd name="T24" fmla="*/ 136 w 264"/>
                    <a:gd name="T25" fmla="*/ 253 h 232"/>
                    <a:gd name="T26" fmla="*/ 160 w 264"/>
                    <a:gd name="T27" fmla="*/ 272 h 232"/>
                    <a:gd name="T28" fmla="*/ 240 w 264"/>
                    <a:gd name="T29" fmla="*/ 248 h 232"/>
                    <a:gd name="T30" fmla="*/ 272 w 264"/>
                    <a:gd name="T31" fmla="*/ 177 h 232"/>
                    <a:gd name="T32" fmla="*/ 252 w 264"/>
                    <a:gd name="T33" fmla="*/ 136 h 232"/>
                    <a:gd name="T34" fmla="*/ 218 w 264"/>
                    <a:gd name="T35" fmla="*/ 117 h 232"/>
                    <a:gd name="T36" fmla="*/ 186 w 264"/>
                    <a:gd name="T37" fmla="*/ 94 h 232"/>
                    <a:gd name="T38" fmla="*/ 178 w 264"/>
                    <a:gd name="T39" fmla="*/ 66 h 232"/>
                    <a:gd name="T40" fmla="*/ 190 w 264"/>
                    <a:gd name="T41" fmla="*/ 38 h 232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0" t="0" r="r" b="b"/>
                  <a:pathLst>
                    <a:path w="264" h="232">
                      <a:moveTo>
                        <a:pt x="184" y="32"/>
                      </a:moveTo>
                      <a:cubicBezTo>
                        <a:pt x="152" y="24"/>
                        <a:pt x="175" y="9"/>
                        <a:pt x="148" y="0"/>
                      </a:cubicBezTo>
                      <a:cubicBezTo>
                        <a:pt x="119" y="6"/>
                        <a:pt x="123" y="19"/>
                        <a:pt x="100" y="32"/>
                      </a:cubicBezTo>
                      <a:cubicBezTo>
                        <a:pt x="92" y="37"/>
                        <a:pt x="84" y="43"/>
                        <a:pt x="76" y="48"/>
                      </a:cubicBezTo>
                      <a:cubicBezTo>
                        <a:pt x="72" y="51"/>
                        <a:pt x="64" y="56"/>
                        <a:pt x="64" y="56"/>
                      </a:cubicBezTo>
                      <a:cubicBezTo>
                        <a:pt x="53" y="89"/>
                        <a:pt x="37" y="79"/>
                        <a:pt x="12" y="96"/>
                      </a:cubicBezTo>
                      <a:cubicBezTo>
                        <a:pt x="9" y="110"/>
                        <a:pt x="0" y="136"/>
                        <a:pt x="0" y="136"/>
                      </a:cubicBezTo>
                      <a:cubicBezTo>
                        <a:pt x="1" y="144"/>
                        <a:pt x="2" y="165"/>
                        <a:pt x="12" y="172"/>
                      </a:cubicBezTo>
                      <a:cubicBezTo>
                        <a:pt x="19" y="176"/>
                        <a:pt x="28" y="177"/>
                        <a:pt x="36" y="180"/>
                      </a:cubicBezTo>
                      <a:cubicBezTo>
                        <a:pt x="40" y="181"/>
                        <a:pt x="48" y="184"/>
                        <a:pt x="48" y="184"/>
                      </a:cubicBezTo>
                      <a:cubicBezTo>
                        <a:pt x="52" y="195"/>
                        <a:pt x="52" y="201"/>
                        <a:pt x="64" y="208"/>
                      </a:cubicBezTo>
                      <a:cubicBezTo>
                        <a:pt x="71" y="212"/>
                        <a:pt x="88" y="216"/>
                        <a:pt x="88" y="216"/>
                      </a:cubicBezTo>
                      <a:cubicBezTo>
                        <a:pt x="105" y="213"/>
                        <a:pt x="116" y="209"/>
                        <a:pt x="132" y="216"/>
                      </a:cubicBezTo>
                      <a:cubicBezTo>
                        <a:pt x="141" y="220"/>
                        <a:pt x="156" y="232"/>
                        <a:pt x="156" y="232"/>
                      </a:cubicBezTo>
                      <a:cubicBezTo>
                        <a:pt x="187" y="222"/>
                        <a:pt x="195" y="216"/>
                        <a:pt x="232" y="212"/>
                      </a:cubicBezTo>
                      <a:cubicBezTo>
                        <a:pt x="248" y="201"/>
                        <a:pt x="258" y="171"/>
                        <a:pt x="264" y="152"/>
                      </a:cubicBezTo>
                      <a:cubicBezTo>
                        <a:pt x="254" y="123"/>
                        <a:pt x="262" y="134"/>
                        <a:pt x="244" y="116"/>
                      </a:cubicBezTo>
                      <a:cubicBezTo>
                        <a:pt x="237" y="96"/>
                        <a:pt x="232" y="95"/>
                        <a:pt x="212" y="100"/>
                      </a:cubicBezTo>
                      <a:cubicBezTo>
                        <a:pt x="192" y="93"/>
                        <a:pt x="188" y="97"/>
                        <a:pt x="180" y="80"/>
                      </a:cubicBezTo>
                      <a:cubicBezTo>
                        <a:pt x="177" y="72"/>
                        <a:pt x="172" y="56"/>
                        <a:pt x="172" y="56"/>
                      </a:cubicBezTo>
                      <a:cubicBezTo>
                        <a:pt x="188" y="45"/>
                        <a:pt x="184" y="53"/>
                        <a:pt x="184" y="32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05" name="Freeform 36"/>
                <p:cNvSpPr>
                  <a:spLocks/>
                </p:cNvSpPr>
                <p:nvPr/>
              </p:nvSpPr>
              <p:spPr bwMode="gray">
                <a:xfrm rot="-62515">
                  <a:off x="2351" y="3124"/>
                  <a:ext cx="198" cy="320"/>
                </a:xfrm>
                <a:custGeom>
                  <a:avLst/>
                  <a:gdLst>
                    <a:gd name="T0" fmla="*/ 192 w 195"/>
                    <a:gd name="T1" fmla="*/ 56 h 296"/>
                    <a:gd name="T2" fmla="*/ 180 w 195"/>
                    <a:gd name="T3" fmla="*/ 42 h 296"/>
                    <a:gd name="T4" fmla="*/ 134 w 195"/>
                    <a:gd name="T5" fmla="*/ 10 h 296"/>
                    <a:gd name="T6" fmla="*/ 76 w 195"/>
                    <a:gd name="T7" fmla="*/ 14 h 296"/>
                    <a:gd name="T8" fmla="*/ 14 w 195"/>
                    <a:gd name="T9" fmla="*/ 52 h 296"/>
                    <a:gd name="T10" fmla="*/ 6 w 195"/>
                    <a:gd name="T11" fmla="*/ 103 h 296"/>
                    <a:gd name="T12" fmla="*/ 48 w 195"/>
                    <a:gd name="T13" fmla="*/ 197 h 296"/>
                    <a:gd name="T14" fmla="*/ 80 w 195"/>
                    <a:gd name="T15" fmla="*/ 234 h 296"/>
                    <a:gd name="T16" fmla="*/ 106 w 195"/>
                    <a:gd name="T17" fmla="*/ 253 h 296"/>
                    <a:gd name="T18" fmla="*/ 154 w 195"/>
                    <a:gd name="T19" fmla="*/ 346 h 296"/>
                    <a:gd name="T20" fmla="*/ 192 w 195"/>
                    <a:gd name="T21" fmla="*/ 299 h 296"/>
                    <a:gd name="T22" fmla="*/ 196 w 195"/>
                    <a:gd name="T23" fmla="*/ 239 h 296"/>
                    <a:gd name="T24" fmla="*/ 172 w 195"/>
                    <a:gd name="T25" fmla="*/ 135 h 296"/>
                    <a:gd name="T26" fmla="*/ 192 w 195"/>
                    <a:gd name="T27" fmla="*/ 56 h 29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0" t="0" r="r" b="b"/>
                  <a:pathLst>
                    <a:path w="195" h="296">
                      <a:moveTo>
                        <a:pt x="186" y="48"/>
                      </a:moveTo>
                      <a:cubicBezTo>
                        <a:pt x="182" y="44"/>
                        <a:pt x="177" y="41"/>
                        <a:pt x="174" y="36"/>
                      </a:cubicBezTo>
                      <a:cubicBezTo>
                        <a:pt x="154" y="0"/>
                        <a:pt x="186" y="14"/>
                        <a:pt x="130" y="8"/>
                      </a:cubicBezTo>
                      <a:cubicBezTo>
                        <a:pt x="111" y="9"/>
                        <a:pt x="92" y="7"/>
                        <a:pt x="74" y="12"/>
                      </a:cubicBezTo>
                      <a:cubicBezTo>
                        <a:pt x="67" y="14"/>
                        <a:pt x="23" y="38"/>
                        <a:pt x="14" y="44"/>
                      </a:cubicBezTo>
                      <a:cubicBezTo>
                        <a:pt x="2" y="62"/>
                        <a:pt x="2" y="66"/>
                        <a:pt x="6" y="88"/>
                      </a:cubicBezTo>
                      <a:cubicBezTo>
                        <a:pt x="12" y="171"/>
                        <a:pt x="0" y="137"/>
                        <a:pt x="46" y="168"/>
                      </a:cubicBezTo>
                      <a:cubicBezTo>
                        <a:pt x="54" y="180"/>
                        <a:pt x="66" y="191"/>
                        <a:pt x="78" y="200"/>
                      </a:cubicBezTo>
                      <a:cubicBezTo>
                        <a:pt x="86" y="206"/>
                        <a:pt x="102" y="216"/>
                        <a:pt x="102" y="216"/>
                      </a:cubicBezTo>
                      <a:cubicBezTo>
                        <a:pt x="106" y="254"/>
                        <a:pt x="110" y="288"/>
                        <a:pt x="150" y="296"/>
                      </a:cubicBezTo>
                      <a:cubicBezTo>
                        <a:pt x="175" y="290"/>
                        <a:pt x="173" y="275"/>
                        <a:pt x="186" y="256"/>
                      </a:cubicBezTo>
                      <a:cubicBezTo>
                        <a:pt x="179" y="234"/>
                        <a:pt x="165" y="221"/>
                        <a:pt x="190" y="204"/>
                      </a:cubicBezTo>
                      <a:cubicBezTo>
                        <a:pt x="184" y="175"/>
                        <a:pt x="175" y="144"/>
                        <a:pt x="166" y="116"/>
                      </a:cubicBezTo>
                      <a:cubicBezTo>
                        <a:pt x="171" y="90"/>
                        <a:pt x="195" y="74"/>
                        <a:pt x="186" y="48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06" name="Freeform 37"/>
                <p:cNvSpPr>
                  <a:spLocks/>
                </p:cNvSpPr>
                <p:nvPr/>
              </p:nvSpPr>
              <p:spPr bwMode="gray">
                <a:xfrm rot="-62515">
                  <a:off x="2480" y="3211"/>
                  <a:ext cx="191" cy="299"/>
                </a:xfrm>
                <a:custGeom>
                  <a:avLst/>
                  <a:gdLst>
                    <a:gd name="T0" fmla="*/ 132 w 188"/>
                    <a:gd name="T1" fmla="*/ 25 h 277"/>
                    <a:gd name="T2" fmla="*/ 66 w 188"/>
                    <a:gd name="T3" fmla="*/ 25 h 277"/>
                    <a:gd name="T4" fmla="*/ 34 w 188"/>
                    <a:gd name="T5" fmla="*/ 25 h 277"/>
                    <a:gd name="T6" fmla="*/ 62 w 188"/>
                    <a:gd name="T7" fmla="*/ 136 h 277"/>
                    <a:gd name="T8" fmla="*/ 62 w 188"/>
                    <a:gd name="T9" fmla="*/ 196 h 277"/>
                    <a:gd name="T10" fmla="*/ 20 w 188"/>
                    <a:gd name="T11" fmla="*/ 239 h 277"/>
                    <a:gd name="T12" fmla="*/ 0 w 188"/>
                    <a:gd name="T13" fmla="*/ 272 h 277"/>
                    <a:gd name="T14" fmla="*/ 16 w 188"/>
                    <a:gd name="T15" fmla="*/ 323 h 277"/>
                    <a:gd name="T16" fmla="*/ 66 w 188"/>
                    <a:gd name="T17" fmla="*/ 299 h 277"/>
                    <a:gd name="T18" fmla="*/ 116 w 188"/>
                    <a:gd name="T19" fmla="*/ 285 h 277"/>
                    <a:gd name="T20" fmla="*/ 144 w 188"/>
                    <a:gd name="T21" fmla="*/ 248 h 277"/>
                    <a:gd name="T22" fmla="*/ 178 w 188"/>
                    <a:gd name="T23" fmla="*/ 216 h 277"/>
                    <a:gd name="T24" fmla="*/ 194 w 188"/>
                    <a:gd name="T25" fmla="*/ 174 h 277"/>
                    <a:gd name="T26" fmla="*/ 174 w 188"/>
                    <a:gd name="T27" fmla="*/ 85 h 277"/>
                    <a:gd name="T28" fmla="*/ 148 w 188"/>
                    <a:gd name="T29" fmla="*/ 71 h 277"/>
                    <a:gd name="T30" fmla="*/ 140 w 188"/>
                    <a:gd name="T31" fmla="*/ 43 h 277"/>
                    <a:gd name="T32" fmla="*/ 136 w 188"/>
                    <a:gd name="T33" fmla="*/ 29 h 277"/>
                    <a:gd name="T34" fmla="*/ 124 w 188"/>
                    <a:gd name="T35" fmla="*/ 25 h 277"/>
                    <a:gd name="T36" fmla="*/ 132 w 188"/>
                    <a:gd name="T37" fmla="*/ 25 h 277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0" t="0" r="r" b="b"/>
                  <a:pathLst>
                    <a:path w="188" h="277">
                      <a:moveTo>
                        <a:pt x="128" y="21"/>
                      </a:moveTo>
                      <a:cubicBezTo>
                        <a:pt x="105" y="26"/>
                        <a:pt x="85" y="35"/>
                        <a:pt x="64" y="21"/>
                      </a:cubicBezTo>
                      <a:cubicBezTo>
                        <a:pt x="57" y="0"/>
                        <a:pt x="46" y="11"/>
                        <a:pt x="32" y="21"/>
                      </a:cubicBezTo>
                      <a:cubicBezTo>
                        <a:pt x="24" y="45"/>
                        <a:pt x="45" y="95"/>
                        <a:pt x="60" y="117"/>
                      </a:cubicBezTo>
                      <a:cubicBezTo>
                        <a:pt x="51" y="143"/>
                        <a:pt x="52" y="144"/>
                        <a:pt x="60" y="169"/>
                      </a:cubicBezTo>
                      <a:cubicBezTo>
                        <a:pt x="45" y="191"/>
                        <a:pt x="44" y="197"/>
                        <a:pt x="20" y="205"/>
                      </a:cubicBezTo>
                      <a:cubicBezTo>
                        <a:pt x="11" y="233"/>
                        <a:pt x="20" y="226"/>
                        <a:pt x="0" y="233"/>
                      </a:cubicBezTo>
                      <a:cubicBezTo>
                        <a:pt x="4" y="251"/>
                        <a:pt x="6" y="262"/>
                        <a:pt x="16" y="277"/>
                      </a:cubicBezTo>
                      <a:cubicBezTo>
                        <a:pt x="33" y="271"/>
                        <a:pt x="48" y="263"/>
                        <a:pt x="64" y="257"/>
                      </a:cubicBezTo>
                      <a:cubicBezTo>
                        <a:pt x="79" y="251"/>
                        <a:pt x="97" y="250"/>
                        <a:pt x="112" y="245"/>
                      </a:cubicBezTo>
                      <a:cubicBezTo>
                        <a:pt x="131" y="217"/>
                        <a:pt x="120" y="226"/>
                        <a:pt x="140" y="213"/>
                      </a:cubicBezTo>
                      <a:cubicBezTo>
                        <a:pt x="149" y="199"/>
                        <a:pt x="156" y="190"/>
                        <a:pt x="172" y="185"/>
                      </a:cubicBezTo>
                      <a:cubicBezTo>
                        <a:pt x="179" y="174"/>
                        <a:pt x="188" y="149"/>
                        <a:pt x="188" y="149"/>
                      </a:cubicBezTo>
                      <a:cubicBezTo>
                        <a:pt x="185" y="129"/>
                        <a:pt x="187" y="88"/>
                        <a:pt x="168" y="73"/>
                      </a:cubicBezTo>
                      <a:cubicBezTo>
                        <a:pt x="161" y="67"/>
                        <a:pt x="151" y="66"/>
                        <a:pt x="144" y="61"/>
                      </a:cubicBezTo>
                      <a:cubicBezTo>
                        <a:pt x="141" y="53"/>
                        <a:pt x="139" y="45"/>
                        <a:pt x="136" y="37"/>
                      </a:cubicBezTo>
                      <a:cubicBezTo>
                        <a:pt x="135" y="33"/>
                        <a:pt x="136" y="26"/>
                        <a:pt x="132" y="25"/>
                      </a:cubicBezTo>
                      <a:cubicBezTo>
                        <a:pt x="128" y="24"/>
                        <a:pt x="123" y="24"/>
                        <a:pt x="120" y="21"/>
                      </a:cubicBezTo>
                      <a:cubicBezTo>
                        <a:pt x="118" y="19"/>
                        <a:pt x="125" y="21"/>
                        <a:pt x="128" y="21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07" name="Freeform 38"/>
                <p:cNvSpPr>
                  <a:spLocks/>
                </p:cNvSpPr>
                <p:nvPr/>
              </p:nvSpPr>
              <p:spPr bwMode="gray">
                <a:xfrm rot="-62515">
                  <a:off x="2507" y="3326"/>
                  <a:ext cx="500" cy="302"/>
                </a:xfrm>
                <a:custGeom>
                  <a:avLst/>
                  <a:gdLst>
                    <a:gd name="T0" fmla="*/ 227 w 491"/>
                    <a:gd name="T1" fmla="*/ 135 h 280"/>
                    <a:gd name="T2" fmla="*/ 169 w 491"/>
                    <a:gd name="T3" fmla="*/ 159 h 280"/>
                    <a:gd name="T4" fmla="*/ 115 w 491"/>
                    <a:gd name="T5" fmla="*/ 131 h 280"/>
                    <a:gd name="T6" fmla="*/ 7 w 491"/>
                    <a:gd name="T7" fmla="*/ 181 h 280"/>
                    <a:gd name="T8" fmla="*/ 33 w 491"/>
                    <a:gd name="T9" fmla="*/ 205 h 280"/>
                    <a:gd name="T10" fmla="*/ 49 w 491"/>
                    <a:gd name="T11" fmla="*/ 233 h 280"/>
                    <a:gd name="T12" fmla="*/ 57 w 491"/>
                    <a:gd name="T13" fmla="*/ 261 h 280"/>
                    <a:gd name="T14" fmla="*/ 53 w 491"/>
                    <a:gd name="T15" fmla="*/ 326 h 280"/>
                    <a:gd name="T16" fmla="*/ 145 w 491"/>
                    <a:gd name="T17" fmla="*/ 279 h 280"/>
                    <a:gd name="T18" fmla="*/ 215 w 491"/>
                    <a:gd name="T19" fmla="*/ 219 h 280"/>
                    <a:gd name="T20" fmla="*/ 257 w 491"/>
                    <a:gd name="T21" fmla="*/ 251 h 280"/>
                    <a:gd name="T22" fmla="*/ 297 w 491"/>
                    <a:gd name="T23" fmla="*/ 265 h 280"/>
                    <a:gd name="T24" fmla="*/ 331 w 491"/>
                    <a:gd name="T25" fmla="*/ 288 h 280"/>
                    <a:gd name="T26" fmla="*/ 355 w 491"/>
                    <a:gd name="T27" fmla="*/ 298 h 280"/>
                    <a:gd name="T28" fmla="*/ 409 w 491"/>
                    <a:gd name="T29" fmla="*/ 307 h 280"/>
                    <a:gd name="T30" fmla="*/ 459 w 491"/>
                    <a:gd name="T31" fmla="*/ 275 h 280"/>
                    <a:gd name="T32" fmla="*/ 459 w 491"/>
                    <a:gd name="T33" fmla="*/ 233 h 280"/>
                    <a:gd name="T34" fmla="*/ 451 w 491"/>
                    <a:gd name="T35" fmla="*/ 205 h 280"/>
                    <a:gd name="T36" fmla="*/ 489 w 491"/>
                    <a:gd name="T37" fmla="*/ 116 h 280"/>
                    <a:gd name="T38" fmla="*/ 476 w 491"/>
                    <a:gd name="T39" fmla="*/ 79 h 280"/>
                    <a:gd name="T40" fmla="*/ 509 w 491"/>
                    <a:gd name="T41" fmla="*/ 28 h 280"/>
                    <a:gd name="T42" fmla="*/ 467 w 491"/>
                    <a:gd name="T43" fmla="*/ 14 h 280"/>
                    <a:gd name="T44" fmla="*/ 431 w 491"/>
                    <a:gd name="T45" fmla="*/ 32 h 280"/>
                    <a:gd name="T46" fmla="*/ 393 w 491"/>
                    <a:gd name="T47" fmla="*/ 10 h 280"/>
                    <a:gd name="T48" fmla="*/ 381 w 491"/>
                    <a:gd name="T49" fmla="*/ 0 h 280"/>
                    <a:gd name="T50" fmla="*/ 351 w 491"/>
                    <a:gd name="T51" fmla="*/ 4 h 280"/>
                    <a:gd name="T52" fmla="*/ 343 w 491"/>
                    <a:gd name="T53" fmla="*/ 18 h 280"/>
                    <a:gd name="T54" fmla="*/ 319 w 491"/>
                    <a:gd name="T55" fmla="*/ 38 h 280"/>
                    <a:gd name="T56" fmla="*/ 281 w 491"/>
                    <a:gd name="T57" fmla="*/ 60 h 280"/>
                    <a:gd name="T58" fmla="*/ 239 w 491"/>
                    <a:gd name="T59" fmla="*/ 112 h 280"/>
                    <a:gd name="T60" fmla="*/ 231 w 491"/>
                    <a:gd name="T61" fmla="*/ 125 h 280"/>
                    <a:gd name="T62" fmla="*/ 227 w 491"/>
                    <a:gd name="T63" fmla="*/ 139 h 280"/>
                    <a:gd name="T64" fmla="*/ 215 w 491"/>
                    <a:gd name="T65" fmla="*/ 149 h 280"/>
                    <a:gd name="T66" fmla="*/ 227 w 491"/>
                    <a:gd name="T67" fmla="*/ 135 h 28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491" h="280">
                      <a:moveTo>
                        <a:pt x="219" y="116"/>
                      </a:moveTo>
                      <a:cubicBezTo>
                        <a:pt x="211" y="141"/>
                        <a:pt x="185" y="129"/>
                        <a:pt x="163" y="136"/>
                      </a:cubicBezTo>
                      <a:cubicBezTo>
                        <a:pt x="146" y="125"/>
                        <a:pt x="128" y="123"/>
                        <a:pt x="111" y="112"/>
                      </a:cubicBezTo>
                      <a:cubicBezTo>
                        <a:pt x="72" y="138"/>
                        <a:pt x="50" y="142"/>
                        <a:pt x="7" y="156"/>
                      </a:cubicBezTo>
                      <a:cubicBezTo>
                        <a:pt x="0" y="176"/>
                        <a:pt x="15" y="171"/>
                        <a:pt x="31" y="176"/>
                      </a:cubicBezTo>
                      <a:cubicBezTo>
                        <a:pt x="36" y="184"/>
                        <a:pt x="44" y="191"/>
                        <a:pt x="47" y="200"/>
                      </a:cubicBezTo>
                      <a:cubicBezTo>
                        <a:pt x="50" y="208"/>
                        <a:pt x="55" y="224"/>
                        <a:pt x="55" y="224"/>
                      </a:cubicBezTo>
                      <a:cubicBezTo>
                        <a:pt x="51" y="248"/>
                        <a:pt x="46" y="257"/>
                        <a:pt x="51" y="280"/>
                      </a:cubicBezTo>
                      <a:cubicBezTo>
                        <a:pt x="79" y="261"/>
                        <a:pt x="111" y="258"/>
                        <a:pt x="139" y="240"/>
                      </a:cubicBezTo>
                      <a:cubicBezTo>
                        <a:pt x="157" y="213"/>
                        <a:pt x="179" y="202"/>
                        <a:pt x="207" y="188"/>
                      </a:cubicBezTo>
                      <a:cubicBezTo>
                        <a:pt x="233" y="206"/>
                        <a:pt x="209" y="203"/>
                        <a:pt x="247" y="216"/>
                      </a:cubicBezTo>
                      <a:cubicBezTo>
                        <a:pt x="260" y="220"/>
                        <a:pt x="287" y="228"/>
                        <a:pt x="287" y="228"/>
                      </a:cubicBezTo>
                      <a:cubicBezTo>
                        <a:pt x="300" y="247"/>
                        <a:pt x="290" y="238"/>
                        <a:pt x="319" y="248"/>
                      </a:cubicBezTo>
                      <a:cubicBezTo>
                        <a:pt x="327" y="251"/>
                        <a:pt x="343" y="256"/>
                        <a:pt x="343" y="256"/>
                      </a:cubicBezTo>
                      <a:cubicBezTo>
                        <a:pt x="363" y="251"/>
                        <a:pt x="377" y="252"/>
                        <a:pt x="395" y="264"/>
                      </a:cubicBezTo>
                      <a:cubicBezTo>
                        <a:pt x="410" y="259"/>
                        <a:pt x="429" y="245"/>
                        <a:pt x="443" y="236"/>
                      </a:cubicBezTo>
                      <a:cubicBezTo>
                        <a:pt x="456" y="217"/>
                        <a:pt x="453" y="229"/>
                        <a:pt x="443" y="200"/>
                      </a:cubicBezTo>
                      <a:cubicBezTo>
                        <a:pt x="440" y="192"/>
                        <a:pt x="435" y="176"/>
                        <a:pt x="435" y="176"/>
                      </a:cubicBezTo>
                      <a:cubicBezTo>
                        <a:pt x="440" y="156"/>
                        <a:pt x="455" y="111"/>
                        <a:pt x="471" y="100"/>
                      </a:cubicBezTo>
                      <a:cubicBezTo>
                        <a:pt x="477" y="81"/>
                        <a:pt x="465" y="86"/>
                        <a:pt x="459" y="68"/>
                      </a:cubicBezTo>
                      <a:cubicBezTo>
                        <a:pt x="476" y="57"/>
                        <a:pt x="485" y="43"/>
                        <a:pt x="491" y="24"/>
                      </a:cubicBezTo>
                      <a:cubicBezTo>
                        <a:pt x="484" y="2"/>
                        <a:pt x="473" y="8"/>
                        <a:pt x="451" y="12"/>
                      </a:cubicBezTo>
                      <a:cubicBezTo>
                        <a:pt x="440" y="19"/>
                        <a:pt x="415" y="28"/>
                        <a:pt x="415" y="28"/>
                      </a:cubicBezTo>
                      <a:cubicBezTo>
                        <a:pt x="394" y="21"/>
                        <a:pt x="407" y="26"/>
                        <a:pt x="379" y="8"/>
                      </a:cubicBezTo>
                      <a:cubicBezTo>
                        <a:pt x="375" y="5"/>
                        <a:pt x="367" y="0"/>
                        <a:pt x="367" y="0"/>
                      </a:cubicBezTo>
                      <a:cubicBezTo>
                        <a:pt x="358" y="1"/>
                        <a:pt x="348" y="0"/>
                        <a:pt x="339" y="4"/>
                      </a:cubicBezTo>
                      <a:cubicBezTo>
                        <a:pt x="335" y="6"/>
                        <a:pt x="335" y="13"/>
                        <a:pt x="331" y="16"/>
                      </a:cubicBezTo>
                      <a:cubicBezTo>
                        <a:pt x="324" y="22"/>
                        <a:pt x="316" y="29"/>
                        <a:pt x="307" y="32"/>
                      </a:cubicBezTo>
                      <a:cubicBezTo>
                        <a:pt x="294" y="36"/>
                        <a:pt x="271" y="52"/>
                        <a:pt x="271" y="52"/>
                      </a:cubicBezTo>
                      <a:cubicBezTo>
                        <a:pt x="256" y="74"/>
                        <a:pt x="247" y="77"/>
                        <a:pt x="231" y="96"/>
                      </a:cubicBezTo>
                      <a:cubicBezTo>
                        <a:pt x="228" y="100"/>
                        <a:pt x="225" y="104"/>
                        <a:pt x="223" y="108"/>
                      </a:cubicBezTo>
                      <a:cubicBezTo>
                        <a:pt x="221" y="112"/>
                        <a:pt x="222" y="117"/>
                        <a:pt x="219" y="120"/>
                      </a:cubicBezTo>
                      <a:cubicBezTo>
                        <a:pt x="216" y="124"/>
                        <a:pt x="207" y="133"/>
                        <a:pt x="207" y="128"/>
                      </a:cubicBezTo>
                      <a:cubicBezTo>
                        <a:pt x="207" y="122"/>
                        <a:pt x="215" y="120"/>
                        <a:pt x="219" y="116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08" name="Freeform 39"/>
                <p:cNvSpPr>
                  <a:spLocks/>
                </p:cNvSpPr>
                <p:nvPr/>
              </p:nvSpPr>
              <p:spPr bwMode="gray">
                <a:xfrm rot="-62515">
                  <a:off x="3114" y="3242"/>
                  <a:ext cx="158" cy="107"/>
                </a:xfrm>
                <a:custGeom>
                  <a:avLst/>
                  <a:gdLst>
                    <a:gd name="T0" fmla="*/ 145 w 155"/>
                    <a:gd name="T1" fmla="*/ 21 h 99"/>
                    <a:gd name="T2" fmla="*/ 115 w 155"/>
                    <a:gd name="T3" fmla="*/ 35 h 99"/>
                    <a:gd name="T4" fmla="*/ 91 w 155"/>
                    <a:gd name="T5" fmla="*/ 26 h 99"/>
                    <a:gd name="T6" fmla="*/ 73 w 155"/>
                    <a:gd name="T7" fmla="*/ 2 h 99"/>
                    <a:gd name="T8" fmla="*/ 65 w 155"/>
                    <a:gd name="T9" fmla="*/ 16 h 99"/>
                    <a:gd name="T10" fmla="*/ 41 w 155"/>
                    <a:gd name="T11" fmla="*/ 35 h 99"/>
                    <a:gd name="T12" fmla="*/ 3 w 155"/>
                    <a:gd name="T13" fmla="*/ 40 h 99"/>
                    <a:gd name="T14" fmla="*/ 11 w 155"/>
                    <a:gd name="T15" fmla="*/ 82 h 99"/>
                    <a:gd name="T16" fmla="*/ 37 w 155"/>
                    <a:gd name="T17" fmla="*/ 72 h 99"/>
                    <a:gd name="T18" fmla="*/ 73 w 155"/>
                    <a:gd name="T19" fmla="*/ 77 h 99"/>
                    <a:gd name="T20" fmla="*/ 137 w 155"/>
                    <a:gd name="T21" fmla="*/ 115 h 99"/>
                    <a:gd name="T22" fmla="*/ 153 w 155"/>
                    <a:gd name="T23" fmla="*/ 110 h 99"/>
                    <a:gd name="T24" fmla="*/ 161 w 155"/>
                    <a:gd name="T25" fmla="*/ 72 h 99"/>
                    <a:gd name="T26" fmla="*/ 145 w 155"/>
                    <a:gd name="T27" fmla="*/ 21 h 99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0" t="0" r="r" b="b"/>
                  <a:pathLst>
                    <a:path w="155" h="99">
                      <a:moveTo>
                        <a:pt x="139" y="18"/>
                      </a:moveTo>
                      <a:cubicBezTo>
                        <a:pt x="137" y="19"/>
                        <a:pt x="116" y="31"/>
                        <a:pt x="111" y="30"/>
                      </a:cubicBezTo>
                      <a:cubicBezTo>
                        <a:pt x="103" y="29"/>
                        <a:pt x="87" y="22"/>
                        <a:pt x="87" y="22"/>
                      </a:cubicBezTo>
                      <a:cubicBezTo>
                        <a:pt x="85" y="16"/>
                        <a:pt x="82" y="0"/>
                        <a:pt x="71" y="2"/>
                      </a:cubicBezTo>
                      <a:cubicBezTo>
                        <a:pt x="66" y="3"/>
                        <a:pt x="67" y="11"/>
                        <a:pt x="63" y="14"/>
                      </a:cubicBezTo>
                      <a:cubicBezTo>
                        <a:pt x="56" y="20"/>
                        <a:pt x="39" y="30"/>
                        <a:pt x="39" y="30"/>
                      </a:cubicBezTo>
                      <a:cubicBezTo>
                        <a:pt x="20" y="25"/>
                        <a:pt x="15" y="16"/>
                        <a:pt x="3" y="34"/>
                      </a:cubicBezTo>
                      <a:cubicBezTo>
                        <a:pt x="7" y="46"/>
                        <a:pt x="0" y="64"/>
                        <a:pt x="11" y="70"/>
                      </a:cubicBezTo>
                      <a:cubicBezTo>
                        <a:pt x="18" y="74"/>
                        <a:pt x="35" y="62"/>
                        <a:pt x="35" y="62"/>
                      </a:cubicBezTo>
                      <a:cubicBezTo>
                        <a:pt x="47" y="63"/>
                        <a:pt x="59" y="63"/>
                        <a:pt x="71" y="66"/>
                      </a:cubicBezTo>
                      <a:cubicBezTo>
                        <a:pt x="92" y="71"/>
                        <a:pt x="110" y="91"/>
                        <a:pt x="131" y="98"/>
                      </a:cubicBezTo>
                      <a:cubicBezTo>
                        <a:pt x="136" y="97"/>
                        <a:pt x="144" y="99"/>
                        <a:pt x="147" y="94"/>
                      </a:cubicBezTo>
                      <a:cubicBezTo>
                        <a:pt x="153" y="85"/>
                        <a:pt x="155" y="62"/>
                        <a:pt x="155" y="62"/>
                      </a:cubicBezTo>
                      <a:cubicBezTo>
                        <a:pt x="151" y="47"/>
                        <a:pt x="150" y="29"/>
                        <a:pt x="139" y="18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09" name="Freeform 40"/>
                <p:cNvSpPr>
                  <a:spLocks/>
                </p:cNvSpPr>
                <p:nvPr/>
              </p:nvSpPr>
              <p:spPr bwMode="gray">
                <a:xfrm rot="-62515">
                  <a:off x="2818" y="2500"/>
                  <a:ext cx="835" cy="938"/>
                </a:xfrm>
                <a:custGeom>
                  <a:avLst/>
                  <a:gdLst>
                    <a:gd name="T0" fmla="*/ 34 w 820"/>
                    <a:gd name="T1" fmla="*/ 808 h 868"/>
                    <a:gd name="T2" fmla="*/ 66 w 820"/>
                    <a:gd name="T3" fmla="*/ 678 h 868"/>
                    <a:gd name="T4" fmla="*/ 62 w 820"/>
                    <a:gd name="T5" fmla="*/ 598 h 868"/>
                    <a:gd name="T6" fmla="*/ 132 w 820"/>
                    <a:gd name="T7" fmla="*/ 555 h 868"/>
                    <a:gd name="T8" fmla="*/ 190 w 820"/>
                    <a:gd name="T9" fmla="*/ 555 h 868"/>
                    <a:gd name="T10" fmla="*/ 220 w 820"/>
                    <a:gd name="T11" fmla="*/ 472 h 868"/>
                    <a:gd name="T12" fmla="*/ 286 w 820"/>
                    <a:gd name="T13" fmla="*/ 439 h 868"/>
                    <a:gd name="T14" fmla="*/ 324 w 820"/>
                    <a:gd name="T15" fmla="*/ 453 h 868"/>
                    <a:gd name="T16" fmla="*/ 302 w 820"/>
                    <a:gd name="T17" fmla="*/ 374 h 868"/>
                    <a:gd name="T18" fmla="*/ 316 w 820"/>
                    <a:gd name="T19" fmla="*/ 332 h 868"/>
                    <a:gd name="T20" fmla="*/ 302 w 820"/>
                    <a:gd name="T21" fmla="*/ 229 h 868"/>
                    <a:gd name="T22" fmla="*/ 298 w 820"/>
                    <a:gd name="T23" fmla="*/ 103 h 868"/>
                    <a:gd name="T24" fmla="*/ 352 w 820"/>
                    <a:gd name="T25" fmla="*/ 0 h 868"/>
                    <a:gd name="T26" fmla="*/ 402 w 820"/>
                    <a:gd name="T27" fmla="*/ 66 h 868"/>
                    <a:gd name="T28" fmla="*/ 440 w 820"/>
                    <a:gd name="T29" fmla="*/ 173 h 868"/>
                    <a:gd name="T30" fmla="*/ 481 w 820"/>
                    <a:gd name="T31" fmla="*/ 304 h 868"/>
                    <a:gd name="T32" fmla="*/ 522 w 820"/>
                    <a:gd name="T33" fmla="*/ 356 h 868"/>
                    <a:gd name="T34" fmla="*/ 598 w 820"/>
                    <a:gd name="T35" fmla="*/ 341 h 868"/>
                    <a:gd name="T36" fmla="*/ 647 w 820"/>
                    <a:gd name="T37" fmla="*/ 257 h 868"/>
                    <a:gd name="T38" fmla="*/ 664 w 820"/>
                    <a:gd name="T39" fmla="*/ 233 h 868"/>
                    <a:gd name="T40" fmla="*/ 726 w 820"/>
                    <a:gd name="T41" fmla="*/ 205 h 868"/>
                    <a:gd name="T42" fmla="*/ 746 w 820"/>
                    <a:gd name="T43" fmla="*/ 238 h 868"/>
                    <a:gd name="T44" fmla="*/ 834 w 820"/>
                    <a:gd name="T45" fmla="*/ 285 h 868"/>
                    <a:gd name="T46" fmla="*/ 809 w 820"/>
                    <a:gd name="T47" fmla="*/ 378 h 868"/>
                    <a:gd name="T48" fmla="*/ 830 w 820"/>
                    <a:gd name="T49" fmla="*/ 397 h 868"/>
                    <a:gd name="T50" fmla="*/ 742 w 820"/>
                    <a:gd name="T51" fmla="*/ 448 h 868"/>
                    <a:gd name="T52" fmla="*/ 647 w 820"/>
                    <a:gd name="T53" fmla="*/ 500 h 868"/>
                    <a:gd name="T54" fmla="*/ 598 w 820"/>
                    <a:gd name="T55" fmla="*/ 523 h 868"/>
                    <a:gd name="T56" fmla="*/ 535 w 820"/>
                    <a:gd name="T57" fmla="*/ 547 h 868"/>
                    <a:gd name="T58" fmla="*/ 514 w 820"/>
                    <a:gd name="T59" fmla="*/ 664 h 868"/>
                    <a:gd name="T60" fmla="*/ 506 w 820"/>
                    <a:gd name="T61" fmla="*/ 817 h 868"/>
                    <a:gd name="T62" fmla="*/ 460 w 820"/>
                    <a:gd name="T63" fmla="*/ 939 h 868"/>
                    <a:gd name="T64" fmla="*/ 444 w 820"/>
                    <a:gd name="T65" fmla="*/ 962 h 868"/>
                    <a:gd name="T66" fmla="*/ 386 w 820"/>
                    <a:gd name="T67" fmla="*/ 1014 h 868"/>
                    <a:gd name="T68" fmla="*/ 248 w 820"/>
                    <a:gd name="T69" fmla="*/ 939 h 868"/>
                    <a:gd name="T70" fmla="*/ 178 w 820"/>
                    <a:gd name="T71" fmla="*/ 897 h 868"/>
                    <a:gd name="T72" fmla="*/ 116 w 820"/>
                    <a:gd name="T73" fmla="*/ 911 h 868"/>
                    <a:gd name="T74" fmla="*/ 16 w 820"/>
                    <a:gd name="T75" fmla="*/ 869 h 868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0" t="0" r="r" b="b"/>
                  <a:pathLst>
                    <a:path w="820" h="868">
                      <a:moveTo>
                        <a:pt x="0" y="724"/>
                      </a:moveTo>
                      <a:cubicBezTo>
                        <a:pt x="14" y="715"/>
                        <a:pt x="20" y="704"/>
                        <a:pt x="32" y="692"/>
                      </a:cubicBezTo>
                      <a:cubicBezTo>
                        <a:pt x="40" y="661"/>
                        <a:pt x="31" y="627"/>
                        <a:pt x="40" y="596"/>
                      </a:cubicBezTo>
                      <a:cubicBezTo>
                        <a:pt x="43" y="587"/>
                        <a:pt x="64" y="580"/>
                        <a:pt x="64" y="580"/>
                      </a:cubicBezTo>
                      <a:cubicBezTo>
                        <a:pt x="75" y="563"/>
                        <a:pt x="72" y="559"/>
                        <a:pt x="56" y="548"/>
                      </a:cubicBezTo>
                      <a:cubicBezTo>
                        <a:pt x="45" y="531"/>
                        <a:pt x="49" y="528"/>
                        <a:pt x="60" y="512"/>
                      </a:cubicBezTo>
                      <a:cubicBezTo>
                        <a:pt x="64" y="492"/>
                        <a:pt x="64" y="483"/>
                        <a:pt x="84" y="476"/>
                      </a:cubicBezTo>
                      <a:cubicBezTo>
                        <a:pt x="101" y="482"/>
                        <a:pt x="104" y="485"/>
                        <a:pt x="128" y="476"/>
                      </a:cubicBezTo>
                      <a:cubicBezTo>
                        <a:pt x="137" y="473"/>
                        <a:pt x="152" y="460"/>
                        <a:pt x="152" y="460"/>
                      </a:cubicBezTo>
                      <a:cubicBezTo>
                        <a:pt x="159" y="480"/>
                        <a:pt x="164" y="481"/>
                        <a:pt x="184" y="476"/>
                      </a:cubicBezTo>
                      <a:cubicBezTo>
                        <a:pt x="192" y="451"/>
                        <a:pt x="176" y="452"/>
                        <a:pt x="200" y="428"/>
                      </a:cubicBezTo>
                      <a:cubicBezTo>
                        <a:pt x="203" y="420"/>
                        <a:pt x="210" y="413"/>
                        <a:pt x="212" y="404"/>
                      </a:cubicBezTo>
                      <a:cubicBezTo>
                        <a:pt x="218" y="381"/>
                        <a:pt x="207" y="356"/>
                        <a:pt x="232" y="348"/>
                      </a:cubicBezTo>
                      <a:cubicBezTo>
                        <a:pt x="249" y="354"/>
                        <a:pt x="258" y="368"/>
                        <a:pt x="276" y="376"/>
                      </a:cubicBezTo>
                      <a:cubicBezTo>
                        <a:pt x="284" y="379"/>
                        <a:pt x="292" y="381"/>
                        <a:pt x="300" y="384"/>
                      </a:cubicBezTo>
                      <a:cubicBezTo>
                        <a:pt x="304" y="385"/>
                        <a:pt x="312" y="388"/>
                        <a:pt x="312" y="388"/>
                      </a:cubicBezTo>
                      <a:cubicBezTo>
                        <a:pt x="336" y="380"/>
                        <a:pt x="336" y="364"/>
                        <a:pt x="312" y="356"/>
                      </a:cubicBezTo>
                      <a:cubicBezTo>
                        <a:pt x="308" y="343"/>
                        <a:pt x="292" y="320"/>
                        <a:pt x="292" y="320"/>
                      </a:cubicBezTo>
                      <a:cubicBezTo>
                        <a:pt x="295" y="312"/>
                        <a:pt x="297" y="304"/>
                        <a:pt x="300" y="296"/>
                      </a:cubicBezTo>
                      <a:cubicBezTo>
                        <a:pt x="301" y="292"/>
                        <a:pt x="304" y="284"/>
                        <a:pt x="304" y="284"/>
                      </a:cubicBezTo>
                      <a:cubicBezTo>
                        <a:pt x="291" y="275"/>
                        <a:pt x="277" y="273"/>
                        <a:pt x="264" y="264"/>
                      </a:cubicBezTo>
                      <a:cubicBezTo>
                        <a:pt x="267" y="237"/>
                        <a:pt x="269" y="212"/>
                        <a:pt x="292" y="196"/>
                      </a:cubicBezTo>
                      <a:cubicBezTo>
                        <a:pt x="296" y="181"/>
                        <a:pt x="303" y="171"/>
                        <a:pt x="308" y="156"/>
                      </a:cubicBezTo>
                      <a:cubicBezTo>
                        <a:pt x="301" y="70"/>
                        <a:pt x="304" y="137"/>
                        <a:pt x="288" y="88"/>
                      </a:cubicBezTo>
                      <a:cubicBezTo>
                        <a:pt x="293" y="73"/>
                        <a:pt x="293" y="39"/>
                        <a:pt x="304" y="28"/>
                      </a:cubicBezTo>
                      <a:cubicBezTo>
                        <a:pt x="315" y="17"/>
                        <a:pt x="329" y="11"/>
                        <a:pt x="340" y="0"/>
                      </a:cubicBezTo>
                      <a:cubicBezTo>
                        <a:pt x="368" y="9"/>
                        <a:pt x="343" y="24"/>
                        <a:pt x="376" y="32"/>
                      </a:cubicBezTo>
                      <a:cubicBezTo>
                        <a:pt x="381" y="39"/>
                        <a:pt x="382" y="49"/>
                        <a:pt x="388" y="56"/>
                      </a:cubicBezTo>
                      <a:cubicBezTo>
                        <a:pt x="396" y="66"/>
                        <a:pt x="413" y="77"/>
                        <a:pt x="424" y="84"/>
                      </a:cubicBezTo>
                      <a:cubicBezTo>
                        <a:pt x="433" y="110"/>
                        <a:pt x="433" y="121"/>
                        <a:pt x="424" y="148"/>
                      </a:cubicBezTo>
                      <a:cubicBezTo>
                        <a:pt x="431" y="168"/>
                        <a:pt x="431" y="181"/>
                        <a:pt x="452" y="188"/>
                      </a:cubicBezTo>
                      <a:cubicBezTo>
                        <a:pt x="477" y="225"/>
                        <a:pt x="469" y="202"/>
                        <a:pt x="464" y="260"/>
                      </a:cubicBezTo>
                      <a:cubicBezTo>
                        <a:pt x="465" y="276"/>
                        <a:pt x="464" y="318"/>
                        <a:pt x="476" y="320"/>
                      </a:cubicBezTo>
                      <a:cubicBezTo>
                        <a:pt x="487" y="322"/>
                        <a:pt x="494" y="308"/>
                        <a:pt x="504" y="304"/>
                      </a:cubicBezTo>
                      <a:cubicBezTo>
                        <a:pt x="512" y="301"/>
                        <a:pt x="528" y="296"/>
                        <a:pt x="528" y="296"/>
                      </a:cubicBezTo>
                      <a:cubicBezTo>
                        <a:pt x="546" y="278"/>
                        <a:pt x="555" y="278"/>
                        <a:pt x="576" y="292"/>
                      </a:cubicBezTo>
                      <a:cubicBezTo>
                        <a:pt x="602" y="275"/>
                        <a:pt x="584" y="252"/>
                        <a:pt x="600" y="236"/>
                      </a:cubicBezTo>
                      <a:cubicBezTo>
                        <a:pt x="607" y="229"/>
                        <a:pt x="624" y="220"/>
                        <a:pt x="624" y="220"/>
                      </a:cubicBezTo>
                      <a:cubicBezTo>
                        <a:pt x="625" y="216"/>
                        <a:pt x="625" y="211"/>
                        <a:pt x="628" y="208"/>
                      </a:cubicBezTo>
                      <a:cubicBezTo>
                        <a:pt x="631" y="204"/>
                        <a:pt x="637" y="204"/>
                        <a:pt x="640" y="200"/>
                      </a:cubicBezTo>
                      <a:cubicBezTo>
                        <a:pt x="660" y="169"/>
                        <a:pt x="635" y="180"/>
                        <a:pt x="660" y="172"/>
                      </a:cubicBezTo>
                      <a:cubicBezTo>
                        <a:pt x="673" y="173"/>
                        <a:pt x="688" y="169"/>
                        <a:pt x="700" y="176"/>
                      </a:cubicBezTo>
                      <a:cubicBezTo>
                        <a:pt x="707" y="180"/>
                        <a:pt x="700" y="197"/>
                        <a:pt x="708" y="200"/>
                      </a:cubicBezTo>
                      <a:cubicBezTo>
                        <a:pt x="712" y="201"/>
                        <a:pt x="716" y="203"/>
                        <a:pt x="720" y="204"/>
                      </a:cubicBezTo>
                      <a:cubicBezTo>
                        <a:pt x="740" y="200"/>
                        <a:pt x="748" y="195"/>
                        <a:pt x="768" y="200"/>
                      </a:cubicBezTo>
                      <a:cubicBezTo>
                        <a:pt x="775" y="220"/>
                        <a:pt x="786" y="232"/>
                        <a:pt x="804" y="244"/>
                      </a:cubicBezTo>
                      <a:cubicBezTo>
                        <a:pt x="820" y="268"/>
                        <a:pt x="820" y="278"/>
                        <a:pt x="788" y="272"/>
                      </a:cubicBezTo>
                      <a:cubicBezTo>
                        <a:pt x="751" y="279"/>
                        <a:pt x="752" y="305"/>
                        <a:pt x="780" y="324"/>
                      </a:cubicBezTo>
                      <a:cubicBezTo>
                        <a:pt x="783" y="328"/>
                        <a:pt x="784" y="333"/>
                        <a:pt x="788" y="336"/>
                      </a:cubicBezTo>
                      <a:cubicBezTo>
                        <a:pt x="791" y="339"/>
                        <a:pt x="799" y="336"/>
                        <a:pt x="800" y="340"/>
                      </a:cubicBezTo>
                      <a:cubicBezTo>
                        <a:pt x="807" y="365"/>
                        <a:pt x="787" y="382"/>
                        <a:pt x="768" y="388"/>
                      </a:cubicBezTo>
                      <a:cubicBezTo>
                        <a:pt x="735" y="377"/>
                        <a:pt x="752" y="379"/>
                        <a:pt x="716" y="384"/>
                      </a:cubicBezTo>
                      <a:cubicBezTo>
                        <a:pt x="687" y="394"/>
                        <a:pt x="704" y="431"/>
                        <a:pt x="676" y="440"/>
                      </a:cubicBezTo>
                      <a:cubicBezTo>
                        <a:pt x="658" y="437"/>
                        <a:pt x="641" y="434"/>
                        <a:pt x="624" y="428"/>
                      </a:cubicBezTo>
                      <a:cubicBezTo>
                        <a:pt x="609" y="430"/>
                        <a:pt x="591" y="425"/>
                        <a:pt x="580" y="436"/>
                      </a:cubicBezTo>
                      <a:cubicBezTo>
                        <a:pt x="577" y="439"/>
                        <a:pt x="579" y="446"/>
                        <a:pt x="576" y="448"/>
                      </a:cubicBezTo>
                      <a:cubicBezTo>
                        <a:pt x="569" y="453"/>
                        <a:pt x="552" y="456"/>
                        <a:pt x="552" y="456"/>
                      </a:cubicBezTo>
                      <a:cubicBezTo>
                        <a:pt x="534" y="450"/>
                        <a:pt x="530" y="454"/>
                        <a:pt x="516" y="468"/>
                      </a:cubicBezTo>
                      <a:cubicBezTo>
                        <a:pt x="512" y="481"/>
                        <a:pt x="488" y="496"/>
                        <a:pt x="488" y="496"/>
                      </a:cubicBezTo>
                      <a:cubicBezTo>
                        <a:pt x="491" y="520"/>
                        <a:pt x="488" y="545"/>
                        <a:pt x="496" y="568"/>
                      </a:cubicBezTo>
                      <a:cubicBezTo>
                        <a:pt x="500" y="580"/>
                        <a:pt x="508" y="604"/>
                        <a:pt x="508" y="604"/>
                      </a:cubicBezTo>
                      <a:cubicBezTo>
                        <a:pt x="504" y="637"/>
                        <a:pt x="507" y="672"/>
                        <a:pt x="488" y="700"/>
                      </a:cubicBezTo>
                      <a:cubicBezTo>
                        <a:pt x="494" y="718"/>
                        <a:pt x="507" y="719"/>
                        <a:pt x="488" y="732"/>
                      </a:cubicBezTo>
                      <a:cubicBezTo>
                        <a:pt x="471" y="757"/>
                        <a:pt x="466" y="782"/>
                        <a:pt x="444" y="804"/>
                      </a:cubicBezTo>
                      <a:cubicBezTo>
                        <a:pt x="443" y="808"/>
                        <a:pt x="443" y="813"/>
                        <a:pt x="440" y="816"/>
                      </a:cubicBezTo>
                      <a:cubicBezTo>
                        <a:pt x="437" y="820"/>
                        <a:pt x="431" y="820"/>
                        <a:pt x="428" y="824"/>
                      </a:cubicBezTo>
                      <a:cubicBezTo>
                        <a:pt x="401" y="868"/>
                        <a:pt x="437" y="838"/>
                        <a:pt x="408" y="852"/>
                      </a:cubicBezTo>
                      <a:cubicBezTo>
                        <a:pt x="396" y="858"/>
                        <a:pt x="372" y="868"/>
                        <a:pt x="372" y="868"/>
                      </a:cubicBezTo>
                      <a:cubicBezTo>
                        <a:pt x="344" y="859"/>
                        <a:pt x="330" y="839"/>
                        <a:pt x="300" y="832"/>
                      </a:cubicBezTo>
                      <a:cubicBezTo>
                        <a:pt x="282" y="820"/>
                        <a:pt x="261" y="811"/>
                        <a:pt x="240" y="804"/>
                      </a:cubicBezTo>
                      <a:cubicBezTo>
                        <a:pt x="228" y="800"/>
                        <a:pt x="204" y="788"/>
                        <a:pt x="204" y="788"/>
                      </a:cubicBezTo>
                      <a:cubicBezTo>
                        <a:pt x="191" y="769"/>
                        <a:pt x="201" y="778"/>
                        <a:pt x="172" y="768"/>
                      </a:cubicBezTo>
                      <a:cubicBezTo>
                        <a:pt x="168" y="767"/>
                        <a:pt x="160" y="764"/>
                        <a:pt x="160" y="764"/>
                      </a:cubicBezTo>
                      <a:cubicBezTo>
                        <a:pt x="139" y="767"/>
                        <a:pt x="131" y="774"/>
                        <a:pt x="112" y="780"/>
                      </a:cubicBezTo>
                      <a:cubicBezTo>
                        <a:pt x="82" y="776"/>
                        <a:pt x="67" y="767"/>
                        <a:pt x="40" y="760"/>
                      </a:cubicBezTo>
                      <a:cubicBezTo>
                        <a:pt x="32" y="755"/>
                        <a:pt x="21" y="752"/>
                        <a:pt x="16" y="744"/>
                      </a:cubicBezTo>
                      <a:cubicBezTo>
                        <a:pt x="11" y="737"/>
                        <a:pt x="7" y="717"/>
                        <a:pt x="0" y="724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10" name="Freeform 41"/>
                <p:cNvSpPr>
                  <a:spLocks/>
                </p:cNvSpPr>
                <p:nvPr/>
              </p:nvSpPr>
              <p:spPr bwMode="gray">
                <a:xfrm rot="-62515">
                  <a:off x="2965" y="2918"/>
                  <a:ext cx="711" cy="601"/>
                </a:xfrm>
                <a:custGeom>
                  <a:avLst/>
                  <a:gdLst>
                    <a:gd name="T0" fmla="*/ 120 w 699"/>
                    <a:gd name="T1" fmla="*/ 579 h 556"/>
                    <a:gd name="T2" fmla="*/ 28 w 699"/>
                    <a:gd name="T3" fmla="*/ 537 h 556"/>
                    <a:gd name="T4" fmla="*/ 0 w 699"/>
                    <a:gd name="T5" fmla="*/ 509 h 556"/>
                    <a:gd name="T6" fmla="*/ 28 w 699"/>
                    <a:gd name="T7" fmla="*/ 477 h 556"/>
                    <a:gd name="T8" fmla="*/ 50 w 699"/>
                    <a:gd name="T9" fmla="*/ 435 h 556"/>
                    <a:gd name="T10" fmla="*/ 100 w 699"/>
                    <a:gd name="T11" fmla="*/ 477 h 556"/>
                    <a:gd name="T12" fmla="*/ 124 w 699"/>
                    <a:gd name="T13" fmla="*/ 486 h 556"/>
                    <a:gd name="T14" fmla="*/ 136 w 699"/>
                    <a:gd name="T15" fmla="*/ 491 h 556"/>
                    <a:gd name="T16" fmla="*/ 232 w 699"/>
                    <a:gd name="T17" fmla="*/ 557 h 556"/>
                    <a:gd name="T18" fmla="*/ 298 w 699"/>
                    <a:gd name="T19" fmla="*/ 529 h 556"/>
                    <a:gd name="T20" fmla="*/ 318 w 699"/>
                    <a:gd name="T21" fmla="*/ 486 h 556"/>
                    <a:gd name="T22" fmla="*/ 327 w 699"/>
                    <a:gd name="T23" fmla="*/ 472 h 556"/>
                    <a:gd name="T24" fmla="*/ 364 w 699"/>
                    <a:gd name="T25" fmla="*/ 398 h 556"/>
                    <a:gd name="T26" fmla="*/ 368 w 699"/>
                    <a:gd name="T27" fmla="*/ 350 h 556"/>
                    <a:gd name="T28" fmla="*/ 376 w 699"/>
                    <a:gd name="T29" fmla="*/ 322 h 556"/>
                    <a:gd name="T30" fmla="*/ 368 w 699"/>
                    <a:gd name="T31" fmla="*/ 219 h 556"/>
                    <a:gd name="T32" fmla="*/ 356 w 699"/>
                    <a:gd name="T33" fmla="*/ 177 h 556"/>
                    <a:gd name="T34" fmla="*/ 352 w 699"/>
                    <a:gd name="T35" fmla="*/ 163 h 556"/>
                    <a:gd name="T36" fmla="*/ 376 w 699"/>
                    <a:gd name="T37" fmla="*/ 112 h 556"/>
                    <a:gd name="T38" fmla="*/ 447 w 699"/>
                    <a:gd name="T39" fmla="*/ 66 h 556"/>
                    <a:gd name="T40" fmla="*/ 484 w 699"/>
                    <a:gd name="T41" fmla="*/ 46 h 556"/>
                    <a:gd name="T42" fmla="*/ 562 w 699"/>
                    <a:gd name="T43" fmla="*/ 32 h 556"/>
                    <a:gd name="T44" fmla="*/ 588 w 699"/>
                    <a:gd name="T45" fmla="*/ 18 h 556"/>
                    <a:gd name="T46" fmla="*/ 612 w 699"/>
                    <a:gd name="T47" fmla="*/ 0 h 556"/>
                    <a:gd name="T48" fmla="*/ 625 w 699"/>
                    <a:gd name="T49" fmla="*/ 46 h 556"/>
                    <a:gd name="T50" fmla="*/ 650 w 699"/>
                    <a:gd name="T51" fmla="*/ 89 h 556"/>
                    <a:gd name="T52" fmla="*/ 662 w 699"/>
                    <a:gd name="T53" fmla="*/ 117 h 556"/>
                    <a:gd name="T54" fmla="*/ 700 w 699"/>
                    <a:gd name="T55" fmla="*/ 121 h 556"/>
                    <a:gd name="T56" fmla="*/ 696 w 699"/>
                    <a:gd name="T57" fmla="*/ 169 h 556"/>
                    <a:gd name="T58" fmla="*/ 654 w 699"/>
                    <a:gd name="T59" fmla="*/ 225 h 556"/>
                    <a:gd name="T60" fmla="*/ 629 w 699"/>
                    <a:gd name="T61" fmla="*/ 280 h 556"/>
                    <a:gd name="T62" fmla="*/ 634 w 699"/>
                    <a:gd name="T63" fmla="*/ 294 h 556"/>
                    <a:gd name="T64" fmla="*/ 646 w 699"/>
                    <a:gd name="T65" fmla="*/ 304 h 556"/>
                    <a:gd name="T66" fmla="*/ 654 w 699"/>
                    <a:gd name="T67" fmla="*/ 332 h 556"/>
                    <a:gd name="T68" fmla="*/ 588 w 699"/>
                    <a:gd name="T69" fmla="*/ 384 h 556"/>
                    <a:gd name="T70" fmla="*/ 567 w 699"/>
                    <a:gd name="T71" fmla="*/ 439 h 556"/>
                    <a:gd name="T72" fmla="*/ 542 w 699"/>
                    <a:gd name="T73" fmla="*/ 458 h 556"/>
                    <a:gd name="T74" fmla="*/ 451 w 699"/>
                    <a:gd name="T75" fmla="*/ 509 h 556"/>
                    <a:gd name="T76" fmla="*/ 456 w 699"/>
                    <a:gd name="T77" fmla="*/ 565 h 556"/>
                    <a:gd name="T78" fmla="*/ 418 w 699"/>
                    <a:gd name="T79" fmla="*/ 626 h 556"/>
                    <a:gd name="T80" fmla="*/ 380 w 699"/>
                    <a:gd name="T81" fmla="*/ 607 h 556"/>
                    <a:gd name="T82" fmla="*/ 327 w 699"/>
                    <a:gd name="T83" fmla="*/ 622 h 556"/>
                    <a:gd name="T84" fmla="*/ 252 w 699"/>
                    <a:gd name="T85" fmla="*/ 650 h 556"/>
                    <a:gd name="T86" fmla="*/ 240 w 699"/>
                    <a:gd name="T87" fmla="*/ 645 h 556"/>
                    <a:gd name="T88" fmla="*/ 174 w 699"/>
                    <a:gd name="T89" fmla="*/ 640 h 556"/>
                    <a:gd name="T90" fmla="*/ 166 w 699"/>
                    <a:gd name="T91" fmla="*/ 626 h 556"/>
                    <a:gd name="T92" fmla="*/ 120 w 699"/>
                    <a:gd name="T93" fmla="*/ 579 h 55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699" h="556">
                      <a:moveTo>
                        <a:pt x="116" y="496"/>
                      </a:moveTo>
                      <a:cubicBezTo>
                        <a:pt x="91" y="479"/>
                        <a:pt x="58" y="464"/>
                        <a:pt x="28" y="460"/>
                      </a:cubicBezTo>
                      <a:cubicBezTo>
                        <a:pt x="12" y="455"/>
                        <a:pt x="5" y="452"/>
                        <a:pt x="0" y="436"/>
                      </a:cubicBezTo>
                      <a:cubicBezTo>
                        <a:pt x="10" y="422"/>
                        <a:pt x="18" y="422"/>
                        <a:pt x="28" y="408"/>
                      </a:cubicBezTo>
                      <a:cubicBezTo>
                        <a:pt x="32" y="389"/>
                        <a:pt x="29" y="378"/>
                        <a:pt x="48" y="372"/>
                      </a:cubicBezTo>
                      <a:cubicBezTo>
                        <a:pt x="64" y="383"/>
                        <a:pt x="78" y="402"/>
                        <a:pt x="96" y="408"/>
                      </a:cubicBezTo>
                      <a:cubicBezTo>
                        <a:pt x="104" y="411"/>
                        <a:pt x="112" y="413"/>
                        <a:pt x="120" y="416"/>
                      </a:cubicBezTo>
                      <a:cubicBezTo>
                        <a:pt x="124" y="417"/>
                        <a:pt x="132" y="420"/>
                        <a:pt x="132" y="420"/>
                      </a:cubicBezTo>
                      <a:cubicBezTo>
                        <a:pt x="152" y="450"/>
                        <a:pt x="195" y="457"/>
                        <a:pt x="224" y="476"/>
                      </a:cubicBezTo>
                      <a:cubicBezTo>
                        <a:pt x="249" y="472"/>
                        <a:pt x="267" y="466"/>
                        <a:pt x="288" y="452"/>
                      </a:cubicBezTo>
                      <a:cubicBezTo>
                        <a:pt x="295" y="431"/>
                        <a:pt x="290" y="444"/>
                        <a:pt x="308" y="416"/>
                      </a:cubicBezTo>
                      <a:cubicBezTo>
                        <a:pt x="311" y="412"/>
                        <a:pt x="316" y="404"/>
                        <a:pt x="316" y="404"/>
                      </a:cubicBezTo>
                      <a:cubicBezTo>
                        <a:pt x="323" y="377"/>
                        <a:pt x="337" y="363"/>
                        <a:pt x="352" y="340"/>
                      </a:cubicBezTo>
                      <a:cubicBezTo>
                        <a:pt x="353" y="327"/>
                        <a:pt x="354" y="313"/>
                        <a:pt x="356" y="300"/>
                      </a:cubicBezTo>
                      <a:cubicBezTo>
                        <a:pt x="358" y="292"/>
                        <a:pt x="364" y="276"/>
                        <a:pt x="364" y="276"/>
                      </a:cubicBezTo>
                      <a:cubicBezTo>
                        <a:pt x="362" y="249"/>
                        <a:pt x="364" y="216"/>
                        <a:pt x="356" y="188"/>
                      </a:cubicBezTo>
                      <a:cubicBezTo>
                        <a:pt x="356" y="188"/>
                        <a:pt x="346" y="158"/>
                        <a:pt x="344" y="152"/>
                      </a:cubicBezTo>
                      <a:cubicBezTo>
                        <a:pt x="343" y="148"/>
                        <a:pt x="340" y="140"/>
                        <a:pt x="340" y="140"/>
                      </a:cubicBezTo>
                      <a:cubicBezTo>
                        <a:pt x="348" y="117"/>
                        <a:pt x="346" y="108"/>
                        <a:pt x="364" y="96"/>
                      </a:cubicBezTo>
                      <a:cubicBezTo>
                        <a:pt x="375" y="63"/>
                        <a:pt x="401" y="66"/>
                        <a:pt x="432" y="56"/>
                      </a:cubicBezTo>
                      <a:cubicBezTo>
                        <a:pt x="445" y="52"/>
                        <a:pt x="455" y="44"/>
                        <a:pt x="468" y="40"/>
                      </a:cubicBezTo>
                      <a:cubicBezTo>
                        <a:pt x="504" y="44"/>
                        <a:pt x="519" y="53"/>
                        <a:pt x="544" y="28"/>
                      </a:cubicBezTo>
                      <a:cubicBezTo>
                        <a:pt x="557" y="15"/>
                        <a:pt x="553" y="24"/>
                        <a:pt x="568" y="16"/>
                      </a:cubicBezTo>
                      <a:cubicBezTo>
                        <a:pt x="576" y="11"/>
                        <a:pt x="592" y="0"/>
                        <a:pt x="592" y="0"/>
                      </a:cubicBezTo>
                      <a:cubicBezTo>
                        <a:pt x="613" y="7"/>
                        <a:pt x="595" y="17"/>
                        <a:pt x="604" y="40"/>
                      </a:cubicBezTo>
                      <a:cubicBezTo>
                        <a:pt x="610" y="53"/>
                        <a:pt x="623" y="62"/>
                        <a:pt x="628" y="76"/>
                      </a:cubicBezTo>
                      <a:cubicBezTo>
                        <a:pt x="630" y="81"/>
                        <a:pt x="634" y="98"/>
                        <a:pt x="640" y="100"/>
                      </a:cubicBezTo>
                      <a:cubicBezTo>
                        <a:pt x="651" y="104"/>
                        <a:pt x="664" y="103"/>
                        <a:pt x="676" y="104"/>
                      </a:cubicBezTo>
                      <a:cubicBezTo>
                        <a:pt x="699" y="112"/>
                        <a:pt x="693" y="137"/>
                        <a:pt x="672" y="144"/>
                      </a:cubicBezTo>
                      <a:cubicBezTo>
                        <a:pt x="663" y="170"/>
                        <a:pt x="659" y="183"/>
                        <a:pt x="632" y="192"/>
                      </a:cubicBezTo>
                      <a:cubicBezTo>
                        <a:pt x="622" y="206"/>
                        <a:pt x="614" y="223"/>
                        <a:pt x="608" y="240"/>
                      </a:cubicBezTo>
                      <a:cubicBezTo>
                        <a:pt x="609" y="244"/>
                        <a:pt x="609" y="249"/>
                        <a:pt x="612" y="252"/>
                      </a:cubicBezTo>
                      <a:cubicBezTo>
                        <a:pt x="615" y="256"/>
                        <a:pt x="621" y="256"/>
                        <a:pt x="624" y="260"/>
                      </a:cubicBezTo>
                      <a:cubicBezTo>
                        <a:pt x="628" y="267"/>
                        <a:pt x="632" y="284"/>
                        <a:pt x="632" y="284"/>
                      </a:cubicBezTo>
                      <a:cubicBezTo>
                        <a:pt x="624" y="309"/>
                        <a:pt x="589" y="314"/>
                        <a:pt x="568" y="328"/>
                      </a:cubicBezTo>
                      <a:cubicBezTo>
                        <a:pt x="558" y="343"/>
                        <a:pt x="554" y="359"/>
                        <a:pt x="548" y="376"/>
                      </a:cubicBezTo>
                      <a:cubicBezTo>
                        <a:pt x="545" y="385"/>
                        <a:pt x="531" y="385"/>
                        <a:pt x="524" y="392"/>
                      </a:cubicBezTo>
                      <a:cubicBezTo>
                        <a:pt x="498" y="418"/>
                        <a:pt x="465" y="417"/>
                        <a:pt x="436" y="436"/>
                      </a:cubicBezTo>
                      <a:cubicBezTo>
                        <a:pt x="425" y="468"/>
                        <a:pt x="431" y="456"/>
                        <a:pt x="440" y="484"/>
                      </a:cubicBezTo>
                      <a:cubicBezTo>
                        <a:pt x="431" y="510"/>
                        <a:pt x="433" y="526"/>
                        <a:pt x="404" y="536"/>
                      </a:cubicBezTo>
                      <a:cubicBezTo>
                        <a:pt x="391" y="532"/>
                        <a:pt x="381" y="524"/>
                        <a:pt x="368" y="520"/>
                      </a:cubicBezTo>
                      <a:cubicBezTo>
                        <a:pt x="351" y="526"/>
                        <a:pt x="333" y="526"/>
                        <a:pt x="316" y="532"/>
                      </a:cubicBezTo>
                      <a:cubicBezTo>
                        <a:pt x="300" y="555"/>
                        <a:pt x="270" y="553"/>
                        <a:pt x="244" y="556"/>
                      </a:cubicBezTo>
                      <a:cubicBezTo>
                        <a:pt x="240" y="555"/>
                        <a:pt x="236" y="552"/>
                        <a:pt x="232" y="552"/>
                      </a:cubicBezTo>
                      <a:cubicBezTo>
                        <a:pt x="211" y="550"/>
                        <a:pt x="189" y="553"/>
                        <a:pt x="168" y="548"/>
                      </a:cubicBezTo>
                      <a:cubicBezTo>
                        <a:pt x="163" y="547"/>
                        <a:pt x="163" y="540"/>
                        <a:pt x="160" y="536"/>
                      </a:cubicBezTo>
                      <a:cubicBezTo>
                        <a:pt x="148" y="523"/>
                        <a:pt x="133" y="504"/>
                        <a:pt x="116" y="496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11" name="Freeform 42"/>
                <p:cNvSpPr>
                  <a:spLocks/>
                </p:cNvSpPr>
                <p:nvPr/>
              </p:nvSpPr>
              <p:spPr bwMode="gray">
                <a:xfrm rot="-62515">
                  <a:off x="3379" y="2782"/>
                  <a:ext cx="531" cy="729"/>
                </a:xfrm>
                <a:custGeom>
                  <a:avLst/>
                  <a:gdLst>
                    <a:gd name="T0" fmla="*/ 352 w 522"/>
                    <a:gd name="T1" fmla="*/ 80 h 674"/>
                    <a:gd name="T2" fmla="*/ 302 w 522"/>
                    <a:gd name="T3" fmla="*/ 32 h 674"/>
                    <a:gd name="T4" fmla="*/ 274 w 522"/>
                    <a:gd name="T5" fmla="*/ 0 h 674"/>
                    <a:gd name="T6" fmla="*/ 224 w 522"/>
                    <a:gd name="T7" fmla="*/ 24 h 674"/>
                    <a:gd name="T8" fmla="*/ 256 w 522"/>
                    <a:gd name="T9" fmla="*/ 89 h 674"/>
                    <a:gd name="T10" fmla="*/ 236 w 522"/>
                    <a:gd name="T11" fmla="*/ 135 h 674"/>
                    <a:gd name="T12" fmla="*/ 170 w 522"/>
                    <a:gd name="T13" fmla="*/ 135 h 674"/>
                    <a:gd name="T14" fmla="*/ 194 w 522"/>
                    <a:gd name="T15" fmla="*/ 149 h 674"/>
                    <a:gd name="T16" fmla="*/ 212 w 522"/>
                    <a:gd name="T17" fmla="*/ 177 h 674"/>
                    <a:gd name="T18" fmla="*/ 232 w 522"/>
                    <a:gd name="T19" fmla="*/ 257 h 674"/>
                    <a:gd name="T20" fmla="*/ 282 w 522"/>
                    <a:gd name="T21" fmla="*/ 281 h 674"/>
                    <a:gd name="T22" fmla="*/ 286 w 522"/>
                    <a:gd name="T23" fmla="*/ 295 h 674"/>
                    <a:gd name="T24" fmla="*/ 274 w 522"/>
                    <a:gd name="T25" fmla="*/ 304 h 674"/>
                    <a:gd name="T26" fmla="*/ 248 w 522"/>
                    <a:gd name="T27" fmla="*/ 342 h 674"/>
                    <a:gd name="T28" fmla="*/ 194 w 522"/>
                    <a:gd name="T29" fmla="*/ 421 h 674"/>
                    <a:gd name="T30" fmla="*/ 220 w 522"/>
                    <a:gd name="T31" fmla="*/ 459 h 674"/>
                    <a:gd name="T32" fmla="*/ 170 w 522"/>
                    <a:gd name="T33" fmla="*/ 515 h 674"/>
                    <a:gd name="T34" fmla="*/ 158 w 522"/>
                    <a:gd name="T35" fmla="*/ 543 h 674"/>
                    <a:gd name="T36" fmla="*/ 132 w 522"/>
                    <a:gd name="T37" fmla="*/ 561 h 674"/>
                    <a:gd name="T38" fmla="*/ 74 w 522"/>
                    <a:gd name="T39" fmla="*/ 608 h 674"/>
                    <a:gd name="T40" fmla="*/ 50 w 522"/>
                    <a:gd name="T41" fmla="*/ 618 h 674"/>
                    <a:gd name="T42" fmla="*/ 12 w 522"/>
                    <a:gd name="T43" fmla="*/ 670 h 674"/>
                    <a:gd name="T44" fmla="*/ 8 w 522"/>
                    <a:gd name="T45" fmla="*/ 730 h 674"/>
                    <a:gd name="T46" fmla="*/ 0 w 522"/>
                    <a:gd name="T47" fmla="*/ 758 h 674"/>
                    <a:gd name="T48" fmla="*/ 28 w 522"/>
                    <a:gd name="T49" fmla="*/ 782 h 674"/>
                    <a:gd name="T50" fmla="*/ 42 w 522"/>
                    <a:gd name="T51" fmla="*/ 786 h 674"/>
                    <a:gd name="T52" fmla="*/ 228 w 522"/>
                    <a:gd name="T53" fmla="*/ 772 h 674"/>
                    <a:gd name="T54" fmla="*/ 260 w 522"/>
                    <a:gd name="T55" fmla="*/ 702 h 674"/>
                    <a:gd name="T56" fmla="*/ 298 w 522"/>
                    <a:gd name="T57" fmla="*/ 678 h 674"/>
                    <a:gd name="T58" fmla="*/ 310 w 522"/>
                    <a:gd name="T59" fmla="*/ 650 h 674"/>
                    <a:gd name="T60" fmla="*/ 398 w 522"/>
                    <a:gd name="T61" fmla="*/ 636 h 674"/>
                    <a:gd name="T62" fmla="*/ 468 w 522"/>
                    <a:gd name="T63" fmla="*/ 627 h 674"/>
                    <a:gd name="T64" fmla="*/ 514 w 522"/>
                    <a:gd name="T65" fmla="*/ 604 h 674"/>
                    <a:gd name="T66" fmla="*/ 534 w 522"/>
                    <a:gd name="T67" fmla="*/ 561 h 674"/>
                    <a:gd name="T68" fmla="*/ 530 w 522"/>
                    <a:gd name="T69" fmla="*/ 505 h 674"/>
                    <a:gd name="T70" fmla="*/ 518 w 522"/>
                    <a:gd name="T71" fmla="*/ 463 h 674"/>
                    <a:gd name="T72" fmla="*/ 534 w 522"/>
                    <a:gd name="T73" fmla="*/ 407 h 674"/>
                    <a:gd name="T74" fmla="*/ 518 w 522"/>
                    <a:gd name="T75" fmla="*/ 365 h 674"/>
                    <a:gd name="T76" fmla="*/ 492 w 522"/>
                    <a:gd name="T77" fmla="*/ 356 h 674"/>
                    <a:gd name="T78" fmla="*/ 534 w 522"/>
                    <a:gd name="T79" fmla="*/ 290 h 674"/>
                    <a:gd name="T80" fmla="*/ 522 w 522"/>
                    <a:gd name="T81" fmla="*/ 220 h 674"/>
                    <a:gd name="T82" fmla="*/ 496 w 522"/>
                    <a:gd name="T83" fmla="*/ 206 h 674"/>
                    <a:gd name="T84" fmla="*/ 484 w 522"/>
                    <a:gd name="T85" fmla="*/ 149 h 674"/>
                    <a:gd name="T86" fmla="*/ 443 w 522"/>
                    <a:gd name="T87" fmla="*/ 131 h 674"/>
                    <a:gd name="T88" fmla="*/ 380 w 522"/>
                    <a:gd name="T89" fmla="*/ 127 h 674"/>
                    <a:gd name="T90" fmla="*/ 348 w 522"/>
                    <a:gd name="T91" fmla="*/ 75 h 674"/>
                    <a:gd name="T92" fmla="*/ 352 w 522"/>
                    <a:gd name="T93" fmla="*/ 80 h 674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522" h="674">
                      <a:moveTo>
                        <a:pt x="340" y="68"/>
                      </a:moveTo>
                      <a:cubicBezTo>
                        <a:pt x="325" y="53"/>
                        <a:pt x="307" y="43"/>
                        <a:pt x="292" y="28"/>
                      </a:cubicBezTo>
                      <a:cubicBezTo>
                        <a:pt x="287" y="12"/>
                        <a:pt x="280" y="5"/>
                        <a:pt x="264" y="0"/>
                      </a:cubicBezTo>
                      <a:cubicBezTo>
                        <a:pt x="245" y="6"/>
                        <a:pt x="232" y="10"/>
                        <a:pt x="216" y="20"/>
                      </a:cubicBezTo>
                      <a:cubicBezTo>
                        <a:pt x="222" y="43"/>
                        <a:pt x="224" y="68"/>
                        <a:pt x="248" y="76"/>
                      </a:cubicBezTo>
                      <a:cubicBezTo>
                        <a:pt x="254" y="95"/>
                        <a:pt x="248" y="109"/>
                        <a:pt x="228" y="116"/>
                      </a:cubicBezTo>
                      <a:cubicBezTo>
                        <a:pt x="204" y="108"/>
                        <a:pt x="200" y="105"/>
                        <a:pt x="164" y="116"/>
                      </a:cubicBezTo>
                      <a:cubicBezTo>
                        <a:pt x="157" y="118"/>
                        <a:pt x="177" y="124"/>
                        <a:pt x="188" y="128"/>
                      </a:cubicBezTo>
                      <a:cubicBezTo>
                        <a:pt x="193" y="136"/>
                        <a:pt x="199" y="144"/>
                        <a:pt x="204" y="152"/>
                      </a:cubicBezTo>
                      <a:cubicBezTo>
                        <a:pt x="210" y="160"/>
                        <a:pt x="209" y="210"/>
                        <a:pt x="224" y="220"/>
                      </a:cubicBezTo>
                      <a:cubicBezTo>
                        <a:pt x="237" y="229"/>
                        <a:pt x="258" y="230"/>
                        <a:pt x="272" y="240"/>
                      </a:cubicBezTo>
                      <a:cubicBezTo>
                        <a:pt x="273" y="244"/>
                        <a:pt x="278" y="248"/>
                        <a:pt x="276" y="252"/>
                      </a:cubicBezTo>
                      <a:cubicBezTo>
                        <a:pt x="274" y="256"/>
                        <a:pt x="267" y="257"/>
                        <a:pt x="264" y="260"/>
                      </a:cubicBezTo>
                      <a:cubicBezTo>
                        <a:pt x="251" y="273"/>
                        <a:pt x="256" y="282"/>
                        <a:pt x="240" y="292"/>
                      </a:cubicBezTo>
                      <a:cubicBezTo>
                        <a:pt x="225" y="315"/>
                        <a:pt x="211" y="344"/>
                        <a:pt x="188" y="360"/>
                      </a:cubicBezTo>
                      <a:cubicBezTo>
                        <a:pt x="193" y="375"/>
                        <a:pt x="203" y="379"/>
                        <a:pt x="212" y="392"/>
                      </a:cubicBezTo>
                      <a:cubicBezTo>
                        <a:pt x="204" y="423"/>
                        <a:pt x="188" y="424"/>
                        <a:pt x="164" y="440"/>
                      </a:cubicBezTo>
                      <a:cubicBezTo>
                        <a:pt x="161" y="449"/>
                        <a:pt x="159" y="458"/>
                        <a:pt x="152" y="464"/>
                      </a:cubicBezTo>
                      <a:cubicBezTo>
                        <a:pt x="145" y="470"/>
                        <a:pt x="128" y="480"/>
                        <a:pt x="128" y="480"/>
                      </a:cubicBezTo>
                      <a:cubicBezTo>
                        <a:pt x="120" y="505"/>
                        <a:pt x="95" y="513"/>
                        <a:pt x="72" y="520"/>
                      </a:cubicBezTo>
                      <a:cubicBezTo>
                        <a:pt x="64" y="522"/>
                        <a:pt x="48" y="528"/>
                        <a:pt x="48" y="528"/>
                      </a:cubicBezTo>
                      <a:cubicBezTo>
                        <a:pt x="43" y="544"/>
                        <a:pt x="25" y="559"/>
                        <a:pt x="12" y="572"/>
                      </a:cubicBezTo>
                      <a:cubicBezTo>
                        <a:pt x="18" y="603"/>
                        <a:pt x="18" y="585"/>
                        <a:pt x="8" y="624"/>
                      </a:cubicBezTo>
                      <a:cubicBezTo>
                        <a:pt x="6" y="632"/>
                        <a:pt x="0" y="648"/>
                        <a:pt x="0" y="648"/>
                      </a:cubicBezTo>
                      <a:cubicBezTo>
                        <a:pt x="7" y="668"/>
                        <a:pt x="0" y="659"/>
                        <a:pt x="28" y="668"/>
                      </a:cubicBezTo>
                      <a:cubicBezTo>
                        <a:pt x="32" y="669"/>
                        <a:pt x="40" y="672"/>
                        <a:pt x="40" y="672"/>
                      </a:cubicBezTo>
                      <a:cubicBezTo>
                        <a:pt x="166" y="669"/>
                        <a:pt x="149" y="674"/>
                        <a:pt x="220" y="660"/>
                      </a:cubicBezTo>
                      <a:cubicBezTo>
                        <a:pt x="231" y="643"/>
                        <a:pt x="240" y="612"/>
                        <a:pt x="252" y="600"/>
                      </a:cubicBezTo>
                      <a:cubicBezTo>
                        <a:pt x="262" y="590"/>
                        <a:pt x="277" y="587"/>
                        <a:pt x="288" y="580"/>
                      </a:cubicBezTo>
                      <a:cubicBezTo>
                        <a:pt x="293" y="573"/>
                        <a:pt x="294" y="562"/>
                        <a:pt x="300" y="556"/>
                      </a:cubicBezTo>
                      <a:cubicBezTo>
                        <a:pt x="312" y="544"/>
                        <a:pt x="373" y="545"/>
                        <a:pt x="384" y="544"/>
                      </a:cubicBezTo>
                      <a:cubicBezTo>
                        <a:pt x="415" y="534"/>
                        <a:pt x="411" y="532"/>
                        <a:pt x="452" y="536"/>
                      </a:cubicBezTo>
                      <a:cubicBezTo>
                        <a:pt x="476" y="544"/>
                        <a:pt x="478" y="528"/>
                        <a:pt x="496" y="516"/>
                      </a:cubicBezTo>
                      <a:cubicBezTo>
                        <a:pt x="514" y="488"/>
                        <a:pt x="509" y="501"/>
                        <a:pt x="516" y="480"/>
                      </a:cubicBezTo>
                      <a:cubicBezTo>
                        <a:pt x="515" y="464"/>
                        <a:pt x="515" y="448"/>
                        <a:pt x="512" y="432"/>
                      </a:cubicBezTo>
                      <a:cubicBezTo>
                        <a:pt x="510" y="420"/>
                        <a:pt x="500" y="396"/>
                        <a:pt x="500" y="396"/>
                      </a:cubicBezTo>
                      <a:cubicBezTo>
                        <a:pt x="503" y="375"/>
                        <a:pt x="505" y="365"/>
                        <a:pt x="516" y="348"/>
                      </a:cubicBezTo>
                      <a:cubicBezTo>
                        <a:pt x="513" y="331"/>
                        <a:pt x="516" y="321"/>
                        <a:pt x="500" y="312"/>
                      </a:cubicBezTo>
                      <a:cubicBezTo>
                        <a:pt x="493" y="308"/>
                        <a:pt x="476" y="304"/>
                        <a:pt x="476" y="304"/>
                      </a:cubicBezTo>
                      <a:cubicBezTo>
                        <a:pt x="462" y="263"/>
                        <a:pt x="492" y="264"/>
                        <a:pt x="516" y="248"/>
                      </a:cubicBezTo>
                      <a:cubicBezTo>
                        <a:pt x="522" y="231"/>
                        <a:pt x="520" y="201"/>
                        <a:pt x="504" y="188"/>
                      </a:cubicBezTo>
                      <a:cubicBezTo>
                        <a:pt x="497" y="182"/>
                        <a:pt x="487" y="181"/>
                        <a:pt x="480" y="176"/>
                      </a:cubicBezTo>
                      <a:cubicBezTo>
                        <a:pt x="475" y="160"/>
                        <a:pt x="475" y="143"/>
                        <a:pt x="468" y="128"/>
                      </a:cubicBezTo>
                      <a:cubicBezTo>
                        <a:pt x="463" y="117"/>
                        <a:pt x="438" y="115"/>
                        <a:pt x="428" y="112"/>
                      </a:cubicBezTo>
                      <a:cubicBezTo>
                        <a:pt x="418" y="83"/>
                        <a:pt x="390" y="101"/>
                        <a:pt x="368" y="108"/>
                      </a:cubicBezTo>
                      <a:cubicBezTo>
                        <a:pt x="355" y="99"/>
                        <a:pt x="336" y="82"/>
                        <a:pt x="336" y="64"/>
                      </a:cubicBezTo>
                      <a:cubicBezTo>
                        <a:pt x="336" y="62"/>
                        <a:pt x="339" y="67"/>
                        <a:pt x="340" y="68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12" name="Freeform 43"/>
                <p:cNvSpPr>
                  <a:spLocks/>
                </p:cNvSpPr>
                <p:nvPr/>
              </p:nvSpPr>
              <p:spPr bwMode="gray">
                <a:xfrm rot="-62515">
                  <a:off x="3569" y="3262"/>
                  <a:ext cx="158" cy="121"/>
                </a:xfrm>
                <a:custGeom>
                  <a:avLst/>
                  <a:gdLst>
                    <a:gd name="T0" fmla="*/ 116 w 155"/>
                    <a:gd name="T1" fmla="*/ 0 h 112"/>
                    <a:gd name="T2" fmla="*/ 74 w 155"/>
                    <a:gd name="T3" fmla="*/ 38 h 112"/>
                    <a:gd name="T4" fmla="*/ 0 w 155"/>
                    <a:gd name="T5" fmla="*/ 79 h 112"/>
                    <a:gd name="T6" fmla="*/ 46 w 155"/>
                    <a:gd name="T7" fmla="*/ 131 h 112"/>
                    <a:gd name="T8" fmla="*/ 74 w 155"/>
                    <a:gd name="T9" fmla="*/ 107 h 112"/>
                    <a:gd name="T10" fmla="*/ 108 w 155"/>
                    <a:gd name="T11" fmla="*/ 107 h 112"/>
                    <a:gd name="T12" fmla="*/ 112 w 155"/>
                    <a:gd name="T13" fmla="*/ 93 h 112"/>
                    <a:gd name="T14" fmla="*/ 138 w 155"/>
                    <a:gd name="T15" fmla="*/ 84 h 112"/>
                    <a:gd name="T16" fmla="*/ 150 w 155"/>
                    <a:gd name="T17" fmla="*/ 79 h 112"/>
                    <a:gd name="T18" fmla="*/ 116 w 155"/>
                    <a:gd name="T19" fmla="*/ 0 h 11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0" t="0" r="r" b="b"/>
                  <a:pathLst>
                    <a:path w="155" h="112">
                      <a:moveTo>
                        <a:pt x="112" y="0"/>
                      </a:moveTo>
                      <a:cubicBezTo>
                        <a:pt x="95" y="12"/>
                        <a:pt x="94" y="25"/>
                        <a:pt x="72" y="32"/>
                      </a:cubicBezTo>
                      <a:cubicBezTo>
                        <a:pt x="48" y="68"/>
                        <a:pt x="57" y="63"/>
                        <a:pt x="0" y="68"/>
                      </a:cubicBezTo>
                      <a:cubicBezTo>
                        <a:pt x="9" y="95"/>
                        <a:pt x="17" y="103"/>
                        <a:pt x="44" y="112"/>
                      </a:cubicBezTo>
                      <a:cubicBezTo>
                        <a:pt x="62" y="106"/>
                        <a:pt x="54" y="98"/>
                        <a:pt x="72" y="92"/>
                      </a:cubicBezTo>
                      <a:cubicBezTo>
                        <a:pt x="80" y="94"/>
                        <a:pt x="96" y="100"/>
                        <a:pt x="104" y="92"/>
                      </a:cubicBezTo>
                      <a:cubicBezTo>
                        <a:pt x="107" y="89"/>
                        <a:pt x="105" y="82"/>
                        <a:pt x="108" y="80"/>
                      </a:cubicBezTo>
                      <a:cubicBezTo>
                        <a:pt x="115" y="75"/>
                        <a:pt x="124" y="75"/>
                        <a:pt x="132" y="72"/>
                      </a:cubicBezTo>
                      <a:cubicBezTo>
                        <a:pt x="136" y="71"/>
                        <a:pt x="144" y="68"/>
                        <a:pt x="144" y="68"/>
                      </a:cubicBezTo>
                      <a:cubicBezTo>
                        <a:pt x="155" y="34"/>
                        <a:pt x="112" y="28"/>
                        <a:pt x="112" y="0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13" name="Freeform 44"/>
                <p:cNvSpPr>
                  <a:spLocks/>
                </p:cNvSpPr>
                <p:nvPr/>
              </p:nvSpPr>
              <p:spPr bwMode="gray">
                <a:xfrm rot="-62515">
                  <a:off x="2522" y="2141"/>
                  <a:ext cx="618" cy="798"/>
                </a:xfrm>
                <a:custGeom>
                  <a:avLst/>
                  <a:gdLst>
                    <a:gd name="T0" fmla="*/ 575 w 607"/>
                    <a:gd name="T1" fmla="*/ 336 h 739"/>
                    <a:gd name="T2" fmla="*/ 621 w 607"/>
                    <a:gd name="T3" fmla="*/ 396 h 739"/>
                    <a:gd name="T4" fmla="*/ 600 w 607"/>
                    <a:gd name="T5" fmla="*/ 452 h 739"/>
                    <a:gd name="T6" fmla="*/ 609 w 607"/>
                    <a:gd name="T7" fmla="*/ 513 h 739"/>
                    <a:gd name="T8" fmla="*/ 617 w 607"/>
                    <a:gd name="T9" fmla="*/ 541 h 739"/>
                    <a:gd name="T10" fmla="*/ 596 w 607"/>
                    <a:gd name="T11" fmla="*/ 630 h 739"/>
                    <a:gd name="T12" fmla="*/ 579 w 607"/>
                    <a:gd name="T13" fmla="*/ 658 h 739"/>
                    <a:gd name="T14" fmla="*/ 605 w 607"/>
                    <a:gd name="T15" fmla="*/ 722 h 739"/>
                    <a:gd name="T16" fmla="*/ 605 w 607"/>
                    <a:gd name="T17" fmla="*/ 756 h 739"/>
                    <a:gd name="T18" fmla="*/ 617 w 607"/>
                    <a:gd name="T19" fmla="*/ 793 h 739"/>
                    <a:gd name="T20" fmla="*/ 625 w 607"/>
                    <a:gd name="T21" fmla="*/ 821 h 739"/>
                    <a:gd name="T22" fmla="*/ 629 w 607"/>
                    <a:gd name="T23" fmla="*/ 835 h 739"/>
                    <a:gd name="T24" fmla="*/ 579 w 607"/>
                    <a:gd name="T25" fmla="*/ 844 h 739"/>
                    <a:gd name="T26" fmla="*/ 571 w 607"/>
                    <a:gd name="T27" fmla="*/ 830 h 739"/>
                    <a:gd name="T28" fmla="*/ 538 w 607"/>
                    <a:gd name="T29" fmla="*/ 821 h 739"/>
                    <a:gd name="T30" fmla="*/ 455 w 607"/>
                    <a:gd name="T31" fmla="*/ 793 h 739"/>
                    <a:gd name="T32" fmla="*/ 393 w 607"/>
                    <a:gd name="T33" fmla="*/ 788 h 739"/>
                    <a:gd name="T34" fmla="*/ 331 w 607"/>
                    <a:gd name="T35" fmla="*/ 826 h 739"/>
                    <a:gd name="T36" fmla="*/ 305 w 607"/>
                    <a:gd name="T37" fmla="*/ 835 h 739"/>
                    <a:gd name="T38" fmla="*/ 231 w 607"/>
                    <a:gd name="T39" fmla="*/ 774 h 739"/>
                    <a:gd name="T40" fmla="*/ 173 w 607"/>
                    <a:gd name="T41" fmla="*/ 714 h 739"/>
                    <a:gd name="T42" fmla="*/ 119 w 607"/>
                    <a:gd name="T43" fmla="*/ 700 h 739"/>
                    <a:gd name="T44" fmla="*/ 115 w 607"/>
                    <a:gd name="T45" fmla="*/ 750 h 739"/>
                    <a:gd name="T46" fmla="*/ 103 w 607"/>
                    <a:gd name="T47" fmla="*/ 742 h 739"/>
                    <a:gd name="T48" fmla="*/ 81 w 607"/>
                    <a:gd name="T49" fmla="*/ 700 h 739"/>
                    <a:gd name="T50" fmla="*/ 95 w 607"/>
                    <a:gd name="T51" fmla="*/ 667 h 739"/>
                    <a:gd name="T52" fmla="*/ 77 w 607"/>
                    <a:gd name="T53" fmla="*/ 611 h 739"/>
                    <a:gd name="T54" fmla="*/ 95 w 607"/>
                    <a:gd name="T55" fmla="*/ 587 h 739"/>
                    <a:gd name="T56" fmla="*/ 111 w 607"/>
                    <a:gd name="T57" fmla="*/ 559 h 739"/>
                    <a:gd name="T58" fmla="*/ 123 w 607"/>
                    <a:gd name="T59" fmla="*/ 513 h 739"/>
                    <a:gd name="T60" fmla="*/ 27 w 607"/>
                    <a:gd name="T61" fmla="*/ 429 h 739"/>
                    <a:gd name="T62" fmla="*/ 7 w 607"/>
                    <a:gd name="T63" fmla="*/ 364 h 739"/>
                    <a:gd name="T64" fmla="*/ 3 w 607"/>
                    <a:gd name="T65" fmla="*/ 336 h 739"/>
                    <a:gd name="T66" fmla="*/ 41 w 607"/>
                    <a:gd name="T67" fmla="*/ 294 h 739"/>
                    <a:gd name="T68" fmla="*/ 73 w 607"/>
                    <a:gd name="T69" fmla="*/ 243 h 739"/>
                    <a:gd name="T70" fmla="*/ 103 w 607"/>
                    <a:gd name="T71" fmla="*/ 209 h 739"/>
                    <a:gd name="T72" fmla="*/ 127 w 607"/>
                    <a:gd name="T73" fmla="*/ 135 h 739"/>
                    <a:gd name="T74" fmla="*/ 169 w 607"/>
                    <a:gd name="T75" fmla="*/ 126 h 739"/>
                    <a:gd name="T76" fmla="*/ 247 w 607"/>
                    <a:gd name="T77" fmla="*/ 28 h 739"/>
                    <a:gd name="T78" fmla="*/ 310 w 607"/>
                    <a:gd name="T79" fmla="*/ 4 h 739"/>
                    <a:gd name="T80" fmla="*/ 401 w 607"/>
                    <a:gd name="T81" fmla="*/ 32 h 739"/>
                    <a:gd name="T82" fmla="*/ 426 w 607"/>
                    <a:gd name="T83" fmla="*/ 24 h 739"/>
                    <a:gd name="T84" fmla="*/ 439 w 607"/>
                    <a:gd name="T85" fmla="*/ 14 h 739"/>
                    <a:gd name="T86" fmla="*/ 463 w 607"/>
                    <a:gd name="T87" fmla="*/ 4 h 739"/>
                    <a:gd name="T88" fmla="*/ 475 w 607"/>
                    <a:gd name="T89" fmla="*/ 0 h 739"/>
                    <a:gd name="T90" fmla="*/ 513 w 607"/>
                    <a:gd name="T91" fmla="*/ 46 h 739"/>
                    <a:gd name="T92" fmla="*/ 521 w 607"/>
                    <a:gd name="T93" fmla="*/ 60 h 739"/>
                    <a:gd name="T94" fmla="*/ 538 w 607"/>
                    <a:gd name="T95" fmla="*/ 149 h 739"/>
                    <a:gd name="T96" fmla="*/ 521 w 607"/>
                    <a:gd name="T97" fmla="*/ 224 h 739"/>
                    <a:gd name="T98" fmla="*/ 555 w 607"/>
                    <a:gd name="T99" fmla="*/ 257 h 739"/>
                    <a:gd name="T100" fmla="*/ 571 w 607"/>
                    <a:gd name="T101" fmla="*/ 308 h 739"/>
                    <a:gd name="T102" fmla="*/ 567 w 607"/>
                    <a:gd name="T103" fmla="*/ 364 h 739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0" t="0" r="r" b="b"/>
                  <a:pathLst>
                    <a:path w="607" h="739">
                      <a:moveTo>
                        <a:pt x="555" y="288"/>
                      </a:moveTo>
                      <a:cubicBezTo>
                        <a:pt x="538" y="339"/>
                        <a:pt x="550" y="335"/>
                        <a:pt x="599" y="340"/>
                      </a:cubicBezTo>
                      <a:cubicBezTo>
                        <a:pt x="606" y="362"/>
                        <a:pt x="597" y="376"/>
                        <a:pt x="579" y="388"/>
                      </a:cubicBezTo>
                      <a:cubicBezTo>
                        <a:pt x="572" y="409"/>
                        <a:pt x="579" y="422"/>
                        <a:pt x="587" y="440"/>
                      </a:cubicBezTo>
                      <a:cubicBezTo>
                        <a:pt x="590" y="448"/>
                        <a:pt x="595" y="464"/>
                        <a:pt x="595" y="464"/>
                      </a:cubicBezTo>
                      <a:cubicBezTo>
                        <a:pt x="590" y="487"/>
                        <a:pt x="587" y="519"/>
                        <a:pt x="575" y="540"/>
                      </a:cubicBezTo>
                      <a:cubicBezTo>
                        <a:pt x="570" y="548"/>
                        <a:pt x="559" y="564"/>
                        <a:pt x="559" y="564"/>
                      </a:cubicBezTo>
                      <a:cubicBezTo>
                        <a:pt x="555" y="595"/>
                        <a:pt x="551" y="609"/>
                        <a:pt x="583" y="620"/>
                      </a:cubicBezTo>
                      <a:cubicBezTo>
                        <a:pt x="593" y="649"/>
                        <a:pt x="583" y="613"/>
                        <a:pt x="583" y="648"/>
                      </a:cubicBezTo>
                      <a:cubicBezTo>
                        <a:pt x="583" y="674"/>
                        <a:pt x="587" y="661"/>
                        <a:pt x="595" y="680"/>
                      </a:cubicBezTo>
                      <a:cubicBezTo>
                        <a:pt x="598" y="688"/>
                        <a:pt x="600" y="696"/>
                        <a:pt x="603" y="704"/>
                      </a:cubicBezTo>
                      <a:cubicBezTo>
                        <a:pt x="604" y="708"/>
                        <a:pt x="607" y="716"/>
                        <a:pt x="607" y="716"/>
                      </a:cubicBezTo>
                      <a:cubicBezTo>
                        <a:pt x="599" y="739"/>
                        <a:pt x="604" y="738"/>
                        <a:pt x="559" y="724"/>
                      </a:cubicBezTo>
                      <a:cubicBezTo>
                        <a:pt x="554" y="723"/>
                        <a:pt x="555" y="714"/>
                        <a:pt x="551" y="712"/>
                      </a:cubicBezTo>
                      <a:cubicBezTo>
                        <a:pt x="541" y="707"/>
                        <a:pt x="530" y="707"/>
                        <a:pt x="519" y="704"/>
                      </a:cubicBezTo>
                      <a:cubicBezTo>
                        <a:pt x="489" y="696"/>
                        <a:pt x="473" y="684"/>
                        <a:pt x="439" y="680"/>
                      </a:cubicBezTo>
                      <a:cubicBezTo>
                        <a:pt x="418" y="666"/>
                        <a:pt x="404" y="668"/>
                        <a:pt x="379" y="676"/>
                      </a:cubicBezTo>
                      <a:cubicBezTo>
                        <a:pt x="361" y="694"/>
                        <a:pt x="344" y="700"/>
                        <a:pt x="319" y="708"/>
                      </a:cubicBezTo>
                      <a:cubicBezTo>
                        <a:pt x="311" y="711"/>
                        <a:pt x="295" y="716"/>
                        <a:pt x="295" y="716"/>
                      </a:cubicBezTo>
                      <a:cubicBezTo>
                        <a:pt x="253" y="712"/>
                        <a:pt x="237" y="706"/>
                        <a:pt x="223" y="664"/>
                      </a:cubicBezTo>
                      <a:cubicBezTo>
                        <a:pt x="234" y="608"/>
                        <a:pt x="213" y="617"/>
                        <a:pt x="167" y="612"/>
                      </a:cubicBezTo>
                      <a:cubicBezTo>
                        <a:pt x="153" y="590"/>
                        <a:pt x="140" y="596"/>
                        <a:pt x="115" y="600"/>
                      </a:cubicBezTo>
                      <a:cubicBezTo>
                        <a:pt x="114" y="615"/>
                        <a:pt x="117" y="631"/>
                        <a:pt x="111" y="644"/>
                      </a:cubicBezTo>
                      <a:cubicBezTo>
                        <a:pt x="109" y="648"/>
                        <a:pt x="102" y="640"/>
                        <a:pt x="99" y="636"/>
                      </a:cubicBezTo>
                      <a:cubicBezTo>
                        <a:pt x="66" y="584"/>
                        <a:pt x="112" y="633"/>
                        <a:pt x="79" y="600"/>
                      </a:cubicBezTo>
                      <a:cubicBezTo>
                        <a:pt x="81" y="590"/>
                        <a:pt x="90" y="582"/>
                        <a:pt x="91" y="572"/>
                      </a:cubicBezTo>
                      <a:cubicBezTo>
                        <a:pt x="93" y="552"/>
                        <a:pt x="81" y="541"/>
                        <a:pt x="75" y="524"/>
                      </a:cubicBezTo>
                      <a:cubicBezTo>
                        <a:pt x="84" y="497"/>
                        <a:pt x="72" y="526"/>
                        <a:pt x="91" y="504"/>
                      </a:cubicBezTo>
                      <a:cubicBezTo>
                        <a:pt x="97" y="497"/>
                        <a:pt x="107" y="480"/>
                        <a:pt x="107" y="480"/>
                      </a:cubicBezTo>
                      <a:cubicBezTo>
                        <a:pt x="110" y="466"/>
                        <a:pt x="119" y="440"/>
                        <a:pt x="119" y="440"/>
                      </a:cubicBezTo>
                      <a:cubicBezTo>
                        <a:pt x="103" y="391"/>
                        <a:pt x="65" y="393"/>
                        <a:pt x="27" y="368"/>
                      </a:cubicBezTo>
                      <a:cubicBezTo>
                        <a:pt x="21" y="349"/>
                        <a:pt x="13" y="331"/>
                        <a:pt x="7" y="312"/>
                      </a:cubicBezTo>
                      <a:cubicBezTo>
                        <a:pt x="17" y="282"/>
                        <a:pt x="8" y="319"/>
                        <a:pt x="3" y="288"/>
                      </a:cubicBezTo>
                      <a:cubicBezTo>
                        <a:pt x="0" y="268"/>
                        <a:pt x="27" y="260"/>
                        <a:pt x="39" y="252"/>
                      </a:cubicBezTo>
                      <a:cubicBezTo>
                        <a:pt x="46" y="232"/>
                        <a:pt x="54" y="219"/>
                        <a:pt x="71" y="208"/>
                      </a:cubicBezTo>
                      <a:cubicBezTo>
                        <a:pt x="75" y="195"/>
                        <a:pt x="99" y="180"/>
                        <a:pt x="99" y="180"/>
                      </a:cubicBezTo>
                      <a:cubicBezTo>
                        <a:pt x="104" y="164"/>
                        <a:pt x="109" y="127"/>
                        <a:pt x="123" y="116"/>
                      </a:cubicBezTo>
                      <a:cubicBezTo>
                        <a:pt x="134" y="108"/>
                        <a:pt x="150" y="110"/>
                        <a:pt x="163" y="108"/>
                      </a:cubicBezTo>
                      <a:cubicBezTo>
                        <a:pt x="183" y="78"/>
                        <a:pt x="203" y="36"/>
                        <a:pt x="239" y="24"/>
                      </a:cubicBezTo>
                      <a:cubicBezTo>
                        <a:pt x="257" y="6"/>
                        <a:pt x="276" y="12"/>
                        <a:pt x="299" y="4"/>
                      </a:cubicBezTo>
                      <a:cubicBezTo>
                        <a:pt x="330" y="7"/>
                        <a:pt x="360" y="10"/>
                        <a:pt x="387" y="28"/>
                      </a:cubicBezTo>
                      <a:cubicBezTo>
                        <a:pt x="395" y="25"/>
                        <a:pt x="404" y="25"/>
                        <a:pt x="411" y="20"/>
                      </a:cubicBezTo>
                      <a:cubicBezTo>
                        <a:pt x="415" y="17"/>
                        <a:pt x="419" y="14"/>
                        <a:pt x="423" y="12"/>
                      </a:cubicBezTo>
                      <a:cubicBezTo>
                        <a:pt x="431" y="9"/>
                        <a:pt x="439" y="7"/>
                        <a:pt x="447" y="4"/>
                      </a:cubicBezTo>
                      <a:cubicBezTo>
                        <a:pt x="451" y="3"/>
                        <a:pt x="459" y="0"/>
                        <a:pt x="459" y="0"/>
                      </a:cubicBezTo>
                      <a:cubicBezTo>
                        <a:pt x="482" y="6"/>
                        <a:pt x="481" y="19"/>
                        <a:pt x="495" y="40"/>
                      </a:cubicBezTo>
                      <a:cubicBezTo>
                        <a:pt x="498" y="44"/>
                        <a:pt x="503" y="52"/>
                        <a:pt x="503" y="52"/>
                      </a:cubicBezTo>
                      <a:cubicBezTo>
                        <a:pt x="509" y="77"/>
                        <a:pt x="511" y="103"/>
                        <a:pt x="519" y="128"/>
                      </a:cubicBezTo>
                      <a:cubicBezTo>
                        <a:pt x="515" y="165"/>
                        <a:pt x="512" y="164"/>
                        <a:pt x="503" y="192"/>
                      </a:cubicBezTo>
                      <a:cubicBezTo>
                        <a:pt x="516" y="201"/>
                        <a:pt x="522" y="211"/>
                        <a:pt x="535" y="220"/>
                      </a:cubicBezTo>
                      <a:cubicBezTo>
                        <a:pt x="541" y="237"/>
                        <a:pt x="547" y="246"/>
                        <a:pt x="551" y="264"/>
                      </a:cubicBezTo>
                      <a:cubicBezTo>
                        <a:pt x="547" y="309"/>
                        <a:pt x="547" y="293"/>
                        <a:pt x="547" y="312"/>
                      </a:cubicBezTo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14" name="Freeform 45"/>
                <p:cNvSpPr>
                  <a:spLocks/>
                </p:cNvSpPr>
                <p:nvPr/>
              </p:nvSpPr>
              <p:spPr bwMode="gray">
                <a:xfrm rot="-62515">
                  <a:off x="2353" y="2285"/>
                  <a:ext cx="686" cy="1199"/>
                </a:xfrm>
                <a:custGeom>
                  <a:avLst/>
                  <a:gdLst>
                    <a:gd name="T0" fmla="*/ 252 w 675"/>
                    <a:gd name="T1" fmla="*/ 84 h 1110"/>
                    <a:gd name="T2" fmla="*/ 194 w 675"/>
                    <a:gd name="T3" fmla="*/ 173 h 1110"/>
                    <a:gd name="T4" fmla="*/ 219 w 675"/>
                    <a:gd name="T5" fmla="*/ 280 h 1110"/>
                    <a:gd name="T6" fmla="*/ 285 w 675"/>
                    <a:gd name="T7" fmla="*/ 318 h 1110"/>
                    <a:gd name="T8" fmla="*/ 285 w 675"/>
                    <a:gd name="T9" fmla="*/ 434 h 1110"/>
                    <a:gd name="T10" fmla="*/ 276 w 675"/>
                    <a:gd name="T11" fmla="*/ 499 h 1110"/>
                    <a:gd name="T12" fmla="*/ 268 w 675"/>
                    <a:gd name="T13" fmla="*/ 579 h 1110"/>
                    <a:gd name="T14" fmla="*/ 298 w 675"/>
                    <a:gd name="T15" fmla="*/ 565 h 1110"/>
                    <a:gd name="T16" fmla="*/ 326 w 675"/>
                    <a:gd name="T17" fmla="*/ 547 h 1110"/>
                    <a:gd name="T18" fmla="*/ 409 w 675"/>
                    <a:gd name="T19" fmla="*/ 574 h 1110"/>
                    <a:gd name="T20" fmla="*/ 492 w 675"/>
                    <a:gd name="T21" fmla="*/ 682 h 1110"/>
                    <a:gd name="T22" fmla="*/ 566 w 675"/>
                    <a:gd name="T23" fmla="*/ 649 h 1110"/>
                    <a:gd name="T24" fmla="*/ 674 w 675"/>
                    <a:gd name="T25" fmla="*/ 654 h 1110"/>
                    <a:gd name="T26" fmla="*/ 686 w 675"/>
                    <a:gd name="T27" fmla="*/ 704 h 1110"/>
                    <a:gd name="T28" fmla="*/ 661 w 675"/>
                    <a:gd name="T29" fmla="*/ 807 h 1110"/>
                    <a:gd name="T30" fmla="*/ 624 w 675"/>
                    <a:gd name="T31" fmla="*/ 803 h 1110"/>
                    <a:gd name="T32" fmla="*/ 537 w 675"/>
                    <a:gd name="T33" fmla="*/ 817 h 1110"/>
                    <a:gd name="T34" fmla="*/ 546 w 675"/>
                    <a:gd name="T35" fmla="*/ 897 h 1110"/>
                    <a:gd name="T36" fmla="*/ 500 w 675"/>
                    <a:gd name="T37" fmla="*/ 1032 h 1110"/>
                    <a:gd name="T38" fmla="*/ 484 w 675"/>
                    <a:gd name="T39" fmla="*/ 1078 h 1110"/>
                    <a:gd name="T40" fmla="*/ 462 w 675"/>
                    <a:gd name="T41" fmla="*/ 1162 h 1110"/>
                    <a:gd name="T42" fmla="*/ 414 w 675"/>
                    <a:gd name="T43" fmla="*/ 1213 h 1110"/>
                    <a:gd name="T44" fmla="*/ 392 w 675"/>
                    <a:gd name="T45" fmla="*/ 1232 h 1110"/>
                    <a:gd name="T46" fmla="*/ 347 w 675"/>
                    <a:gd name="T47" fmla="*/ 1283 h 1110"/>
                    <a:gd name="T48" fmla="*/ 260 w 675"/>
                    <a:gd name="T49" fmla="*/ 1255 h 1110"/>
                    <a:gd name="T50" fmla="*/ 306 w 675"/>
                    <a:gd name="T51" fmla="*/ 1158 h 1110"/>
                    <a:gd name="T52" fmla="*/ 244 w 675"/>
                    <a:gd name="T53" fmla="*/ 1027 h 1110"/>
                    <a:gd name="T54" fmla="*/ 166 w 675"/>
                    <a:gd name="T55" fmla="*/ 957 h 1110"/>
                    <a:gd name="T56" fmla="*/ 190 w 675"/>
                    <a:gd name="T57" fmla="*/ 840 h 1110"/>
                    <a:gd name="T58" fmla="*/ 162 w 675"/>
                    <a:gd name="T59" fmla="*/ 738 h 1110"/>
                    <a:gd name="T60" fmla="*/ 74 w 675"/>
                    <a:gd name="T61" fmla="*/ 630 h 1110"/>
                    <a:gd name="T62" fmla="*/ 12 w 675"/>
                    <a:gd name="T63" fmla="*/ 588 h 1110"/>
                    <a:gd name="T64" fmla="*/ 54 w 675"/>
                    <a:gd name="T65" fmla="*/ 555 h 1110"/>
                    <a:gd name="T66" fmla="*/ 58 w 675"/>
                    <a:gd name="T67" fmla="*/ 453 h 1110"/>
                    <a:gd name="T68" fmla="*/ 82 w 675"/>
                    <a:gd name="T69" fmla="*/ 336 h 1110"/>
                    <a:gd name="T70" fmla="*/ 62 w 675"/>
                    <a:gd name="T71" fmla="*/ 266 h 1110"/>
                    <a:gd name="T72" fmla="*/ 20 w 675"/>
                    <a:gd name="T73" fmla="*/ 183 h 1110"/>
                    <a:gd name="T74" fmla="*/ 0 w 675"/>
                    <a:gd name="T75" fmla="*/ 89 h 1110"/>
                    <a:gd name="T76" fmla="*/ 8 w 675"/>
                    <a:gd name="T77" fmla="*/ 24 h 1110"/>
                    <a:gd name="T78" fmla="*/ 82 w 675"/>
                    <a:gd name="T79" fmla="*/ 60 h 1110"/>
                    <a:gd name="T80" fmla="*/ 148 w 675"/>
                    <a:gd name="T81" fmla="*/ 65 h 1110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0" t="0" r="r" b="b"/>
                  <a:pathLst>
                    <a:path w="675" h="1110">
                      <a:moveTo>
                        <a:pt x="180" y="52"/>
                      </a:moveTo>
                      <a:cubicBezTo>
                        <a:pt x="206" y="54"/>
                        <a:pt x="235" y="46"/>
                        <a:pt x="244" y="72"/>
                      </a:cubicBezTo>
                      <a:cubicBezTo>
                        <a:pt x="242" y="77"/>
                        <a:pt x="218" y="126"/>
                        <a:pt x="212" y="132"/>
                      </a:cubicBezTo>
                      <a:cubicBezTo>
                        <a:pt x="205" y="139"/>
                        <a:pt x="188" y="148"/>
                        <a:pt x="188" y="148"/>
                      </a:cubicBezTo>
                      <a:cubicBezTo>
                        <a:pt x="185" y="152"/>
                        <a:pt x="181" y="155"/>
                        <a:pt x="180" y="160"/>
                      </a:cubicBezTo>
                      <a:cubicBezTo>
                        <a:pt x="178" y="180"/>
                        <a:pt x="190" y="230"/>
                        <a:pt x="212" y="240"/>
                      </a:cubicBezTo>
                      <a:cubicBezTo>
                        <a:pt x="241" y="253"/>
                        <a:pt x="229" y="242"/>
                        <a:pt x="252" y="256"/>
                      </a:cubicBezTo>
                      <a:cubicBezTo>
                        <a:pt x="260" y="261"/>
                        <a:pt x="276" y="272"/>
                        <a:pt x="276" y="272"/>
                      </a:cubicBezTo>
                      <a:cubicBezTo>
                        <a:pt x="294" y="299"/>
                        <a:pt x="290" y="309"/>
                        <a:pt x="284" y="348"/>
                      </a:cubicBezTo>
                      <a:cubicBezTo>
                        <a:pt x="283" y="356"/>
                        <a:pt x="283" y="367"/>
                        <a:pt x="276" y="372"/>
                      </a:cubicBezTo>
                      <a:cubicBezTo>
                        <a:pt x="268" y="377"/>
                        <a:pt x="252" y="388"/>
                        <a:pt x="252" y="388"/>
                      </a:cubicBezTo>
                      <a:cubicBezTo>
                        <a:pt x="256" y="403"/>
                        <a:pt x="263" y="413"/>
                        <a:pt x="268" y="428"/>
                      </a:cubicBezTo>
                      <a:cubicBezTo>
                        <a:pt x="265" y="442"/>
                        <a:pt x="256" y="468"/>
                        <a:pt x="256" y="468"/>
                      </a:cubicBezTo>
                      <a:cubicBezTo>
                        <a:pt x="257" y="477"/>
                        <a:pt x="256" y="487"/>
                        <a:pt x="260" y="496"/>
                      </a:cubicBezTo>
                      <a:cubicBezTo>
                        <a:pt x="262" y="501"/>
                        <a:pt x="267" y="510"/>
                        <a:pt x="272" y="508"/>
                      </a:cubicBezTo>
                      <a:cubicBezTo>
                        <a:pt x="281" y="504"/>
                        <a:pt x="285" y="493"/>
                        <a:pt x="288" y="484"/>
                      </a:cubicBezTo>
                      <a:cubicBezTo>
                        <a:pt x="289" y="480"/>
                        <a:pt x="288" y="474"/>
                        <a:pt x="292" y="472"/>
                      </a:cubicBezTo>
                      <a:cubicBezTo>
                        <a:pt x="299" y="468"/>
                        <a:pt x="308" y="469"/>
                        <a:pt x="316" y="468"/>
                      </a:cubicBezTo>
                      <a:cubicBezTo>
                        <a:pt x="329" y="472"/>
                        <a:pt x="339" y="480"/>
                        <a:pt x="352" y="484"/>
                      </a:cubicBezTo>
                      <a:cubicBezTo>
                        <a:pt x="378" y="479"/>
                        <a:pt x="375" y="483"/>
                        <a:pt x="396" y="492"/>
                      </a:cubicBezTo>
                      <a:cubicBezTo>
                        <a:pt x="404" y="495"/>
                        <a:pt x="420" y="500"/>
                        <a:pt x="420" y="500"/>
                      </a:cubicBezTo>
                      <a:cubicBezTo>
                        <a:pt x="397" y="569"/>
                        <a:pt x="424" y="578"/>
                        <a:pt x="476" y="584"/>
                      </a:cubicBezTo>
                      <a:cubicBezTo>
                        <a:pt x="509" y="578"/>
                        <a:pt x="493" y="584"/>
                        <a:pt x="524" y="564"/>
                      </a:cubicBezTo>
                      <a:cubicBezTo>
                        <a:pt x="531" y="559"/>
                        <a:pt x="548" y="556"/>
                        <a:pt x="548" y="556"/>
                      </a:cubicBezTo>
                      <a:cubicBezTo>
                        <a:pt x="565" y="531"/>
                        <a:pt x="586" y="541"/>
                        <a:pt x="616" y="544"/>
                      </a:cubicBezTo>
                      <a:cubicBezTo>
                        <a:pt x="635" y="557"/>
                        <a:pt x="623" y="550"/>
                        <a:pt x="652" y="560"/>
                      </a:cubicBezTo>
                      <a:cubicBezTo>
                        <a:pt x="656" y="561"/>
                        <a:pt x="664" y="564"/>
                        <a:pt x="664" y="564"/>
                      </a:cubicBezTo>
                      <a:cubicBezTo>
                        <a:pt x="675" y="580"/>
                        <a:pt x="670" y="587"/>
                        <a:pt x="664" y="604"/>
                      </a:cubicBezTo>
                      <a:cubicBezTo>
                        <a:pt x="660" y="630"/>
                        <a:pt x="648" y="643"/>
                        <a:pt x="644" y="668"/>
                      </a:cubicBezTo>
                      <a:cubicBezTo>
                        <a:pt x="643" y="676"/>
                        <a:pt x="644" y="685"/>
                        <a:pt x="640" y="692"/>
                      </a:cubicBezTo>
                      <a:cubicBezTo>
                        <a:pt x="638" y="696"/>
                        <a:pt x="632" y="695"/>
                        <a:pt x="628" y="696"/>
                      </a:cubicBezTo>
                      <a:cubicBezTo>
                        <a:pt x="620" y="693"/>
                        <a:pt x="612" y="685"/>
                        <a:pt x="604" y="688"/>
                      </a:cubicBezTo>
                      <a:cubicBezTo>
                        <a:pt x="596" y="691"/>
                        <a:pt x="580" y="696"/>
                        <a:pt x="580" y="696"/>
                      </a:cubicBezTo>
                      <a:cubicBezTo>
                        <a:pt x="557" y="692"/>
                        <a:pt x="542" y="693"/>
                        <a:pt x="520" y="700"/>
                      </a:cubicBezTo>
                      <a:cubicBezTo>
                        <a:pt x="502" y="728"/>
                        <a:pt x="507" y="715"/>
                        <a:pt x="500" y="736"/>
                      </a:cubicBezTo>
                      <a:cubicBezTo>
                        <a:pt x="512" y="744"/>
                        <a:pt x="528" y="768"/>
                        <a:pt x="528" y="768"/>
                      </a:cubicBezTo>
                      <a:cubicBezTo>
                        <a:pt x="522" y="787"/>
                        <a:pt x="520" y="791"/>
                        <a:pt x="500" y="796"/>
                      </a:cubicBezTo>
                      <a:cubicBezTo>
                        <a:pt x="490" y="825"/>
                        <a:pt x="494" y="855"/>
                        <a:pt x="484" y="884"/>
                      </a:cubicBezTo>
                      <a:cubicBezTo>
                        <a:pt x="483" y="895"/>
                        <a:pt x="484" y="906"/>
                        <a:pt x="480" y="916"/>
                      </a:cubicBezTo>
                      <a:cubicBezTo>
                        <a:pt x="478" y="920"/>
                        <a:pt x="470" y="920"/>
                        <a:pt x="468" y="924"/>
                      </a:cubicBezTo>
                      <a:cubicBezTo>
                        <a:pt x="465" y="931"/>
                        <a:pt x="482" y="953"/>
                        <a:pt x="484" y="960"/>
                      </a:cubicBezTo>
                      <a:cubicBezTo>
                        <a:pt x="476" y="983"/>
                        <a:pt x="467" y="984"/>
                        <a:pt x="448" y="996"/>
                      </a:cubicBezTo>
                      <a:cubicBezTo>
                        <a:pt x="440" y="1008"/>
                        <a:pt x="432" y="1020"/>
                        <a:pt x="424" y="1032"/>
                      </a:cubicBezTo>
                      <a:cubicBezTo>
                        <a:pt x="419" y="1039"/>
                        <a:pt x="400" y="1040"/>
                        <a:pt x="400" y="1040"/>
                      </a:cubicBezTo>
                      <a:cubicBezTo>
                        <a:pt x="397" y="1044"/>
                        <a:pt x="396" y="1049"/>
                        <a:pt x="392" y="1052"/>
                      </a:cubicBezTo>
                      <a:cubicBezTo>
                        <a:pt x="389" y="1055"/>
                        <a:pt x="383" y="1053"/>
                        <a:pt x="380" y="1056"/>
                      </a:cubicBezTo>
                      <a:cubicBezTo>
                        <a:pt x="366" y="1070"/>
                        <a:pt x="394" y="1081"/>
                        <a:pt x="360" y="1092"/>
                      </a:cubicBezTo>
                      <a:cubicBezTo>
                        <a:pt x="352" y="1095"/>
                        <a:pt x="344" y="1097"/>
                        <a:pt x="336" y="1100"/>
                      </a:cubicBezTo>
                      <a:cubicBezTo>
                        <a:pt x="332" y="1101"/>
                        <a:pt x="324" y="1104"/>
                        <a:pt x="324" y="1104"/>
                      </a:cubicBezTo>
                      <a:cubicBezTo>
                        <a:pt x="291" y="1101"/>
                        <a:pt x="263" y="1110"/>
                        <a:pt x="252" y="1076"/>
                      </a:cubicBezTo>
                      <a:cubicBezTo>
                        <a:pt x="266" y="1067"/>
                        <a:pt x="272" y="1056"/>
                        <a:pt x="284" y="1044"/>
                      </a:cubicBezTo>
                      <a:cubicBezTo>
                        <a:pt x="295" y="1011"/>
                        <a:pt x="291" y="1028"/>
                        <a:pt x="296" y="992"/>
                      </a:cubicBezTo>
                      <a:cubicBezTo>
                        <a:pt x="293" y="961"/>
                        <a:pt x="295" y="920"/>
                        <a:pt x="260" y="908"/>
                      </a:cubicBezTo>
                      <a:cubicBezTo>
                        <a:pt x="251" y="894"/>
                        <a:pt x="252" y="885"/>
                        <a:pt x="236" y="880"/>
                      </a:cubicBezTo>
                      <a:cubicBezTo>
                        <a:pt x="209" y="889"/>
                        <a:pt x="192" y="876"/>
                        <a:pt x="168" y="868"/>
                      </a:cubicBezTo>
                      <a:cubicBezTo>
                        <a:pt x="176" y="845"/>
                        <a:pt x="183" y="835"/>
                        <a:pt x="160" y="820"/>
                      </a:cubicBezTo>
                      <a:cubicBezTo>
                        <a:pt x="153" y="798"/>
                        <a:pt x="147" y="792"/>
                        <a:pt x="156" y="768"/>
                      </a:cubicBezTo>
                      <a:cubicBezTo>
                        <a:pt x="163" y="750"/>
                        <a:pt x="178" y="739"/>
                        <a:pt x="184" y="720"/>
                      </a:cubicBezTo>
                      <a:cubicBezTo>
                        <a:pt x="179" y="678"/>
                        <a:pt x="182" y="694"/>
                        <a:pt x="156" y="676"/>
                      </a:cubicBezTo>
                      <a:cubicBezTo>
                        <a:pt x="147" y="658"/>
                        <a:pt x="129" y="641"/>
                        <a:pt x="156" y="632"/>
                      </a:cubicBezTo>
                      <a:cubicBezTo>
                        <a:pt x="179" y="598"/>
                        <a:pt x="138" y="587"/>
                        <a:pt x="116" y="572"/>
                      </a:cubicBezTo>
                      <a:cubicBezTo>
                        <a:pt x="110" y="555"/>
                        <a:pt x="89" y="548"/>
                        <a:pt x="72" y="540"/>
                      </a:cubicBezTo>
                      <a:cubicBezTo>
                        <a:pt x="56" y="545"/>
                        <a:pt x="53" y="554"/>
                        <a:pt x="36" y="548"/>
                      </a:cubicBezTo>
                      <a:cubicBezTo>
                        <a:pt x="28" y="525"/>
                        <a:pt x="30" y="516"/>
                        <a:pt x="12" y="504"/>
                      </a:cubicBezTo>
                      <a:cubicBezTo>
                        <a:pt x="18" y="480"/>
                        <a:pt x="11" y="490"/>
                        <a:pt x="40" y="480"/>
                      </a:cubicBezTo>
                      <a:cubicBezTo>
                        <a:pt x="44" y="479"/>
                        <a:pt x="52" y="476"/>
                        <a:pt x="52" y="476"/>
                      </a:cubicBezTo>
                      <a:cubicBezTo>
                        <a:pt x="69" y="459"/>
                        <a:pt x="75" y="445"/>
                        <a:pt x="48" y="436"/>
                      </a:cubicBezTo>
                      <a:cubicBezTo>
                        <a:pt x="42" y="417"/>
                        <a:pt x="30" y="397"/>
                        <a:pt x="56" y="388"/>
                      </a:cubicBezTo>
                      <a:cubicBezTo>
                        <a:pt x="63" y="377"/>
                        <a:pt x="72" y="352"/>
                        <a:pt x="72" y="352"/>
                      </a:cubicBezTo>
                      <a:cubicBezTo>
                        <a:pt x="67" y="327"/>
                        <a:pt x="55" y="304"/>
                        <a:pt x="80" y="288"/>
                      </a:cubicBezTo>
                      <a:cubicBezTo>
                        <a:pt x="92" y="253"/>
                        <a:pt x="93" y="274"/>
                        <a:pt x="76" y="252"/>
                      </a:cubicBezTo>
                      <a:cubicBezTo>
                        <a:pt x="70" y="244"/>
                        <a:pt x="65" y="236"/>
                        <a:pt x="60" y="228"/>
                      </a:cubicBezTo>
                      <a:cubicBezTo>
                        <a:pt x="57" y="224"/>
                        <a:pt x="52" y="216"/>
                        <a:pt x="52" y="216"/>
                      </a:cubicBezTo>
                      <a:cubicBezTo>
                        <a:pt x="61" y="188"/>
                        <a:pt x="34" y="177"/>
                        <a:pt x="20" y="156"/>
                      </a:cubicBezTo>
                      <a:cubicBezTo>
                        <a:pt x="19" y="137"/>
                        <a:pt x="21" y="118"/>
                        <a:pt x="16" y="100"/>
                      </a:cubicBezTo>
                      <a:cubicBezTo>
                        <a:pt x="14" y="91"/>
                        <a:pt x="0" y="76"/>
                        <a:pt x="0" y="76"/>
                      </a:cubicBezTo>
                      <a:cubicBezTo>
                        <a:pt x="1" y="71"/>
                        <a:pt x="3" y="65"/>
                        <a:pt x="4" y="60"/>
                      </a:cubicBezTo>
                      <a:cubicBezTo>
                        <a:pt x="6" y="47"/>
                        <a:pt x="5" y="33"/>
                        <a:pt x="8" y="20"/>
                      </a:cubicBezTo>
                      <a:cubicBezTo>
                        <a:pt x="11" y="8"/>
                        <a:pt x="40" y="0"/>
                        <a:pt x="40" y="0"/>
                      </a:cubicBezTo>
                      <a:cubicBezTo>
                        <a:pt x="43" y="10"/>
                        <a:pt x="71" y="46"/>
                        <a:pt x="80" y="52"/>
                      </a:cubicBezTo>
                      <a:cubicBezTo>
                        <a:pt x="86" y="35"/>
                        <a:pt x="97" y="35"/>
                        <a:pt x="112" y="24"/>
                      </a:cubicBezTo>
                      <a:cubicBezTo>
                        <a:pt x="133" y="31"/>
                        <a:pt x="123" y="49"/>
                        <a:pt x="144" y="56"/>
                      </a:cubicBezTo>
                      <a:cubicBezTo>
                        <a:pt x="156" y="55"/>
                        <a:pt x="180" y="52"/>
                        <a:pt x="180" y="52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15" name="Freeform 46"/>
                <p:cNvSpPr>
                  <a:spLocks/>
                </p:cNvSpPr>
                <p:nvPr/>
              </p:nvSpPr>
              <p:spPr bwMode="gray">
                <a:xfrm rot="-62515">
                  <a:off x="2712" y="1412"/>
                  <a:ext cx="95" cy="116"/>
                </a:xfrm>
                <a:custGeom>
                  <a:avLst/>
                  <a:gdLst>
                    <a:gd name="T0" fmla="*/ 34 w 94"/>
                    <a:gd name="T1" fmla="*/ 0 h 108"/>
                    <a:gd name="T2" fmla="*/ 96 w 94"/>
                    <a:gd name="T3" fmla="*/ 50 h 108"/>
                    <a:gd name="T4" fmla="*/ 64 w 94"/>
                    <a:gd name="T5" fmla="*/ 97 h 108"/>
                    <a:gd name="T6" fmla="*/ 22 w 94"/>
                    <a:gd name="T7" fmla="*/ 125 h 108"/>
                    <a:gd name="T8" fmla="*/ 26 w 94"/>
                    <a:gd name="T9" fmla="*/ 69 h 108"/>
                    <a:gd name="T10" fmla="*/ 34 w 94"/>
                    <a:gd name="T11" fmla="*/ 42 h 108"/>
                    <a:gd name="T12" fmla="*/ 34 w 94"/>
                    <a:gd name="T13" fmla="*/ 0 h 10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94" h="108">
                      <a:moveTo>
                        <a:pt x="34" y="0"/>
                      </a:moveTo>
                      <a:cubicBezTo>
                        <a:pt x="69" y="5"/>
                        <a:pt x="83" y="10"/>
                        <a:pt x="94" y="44"/>
                      </a:cubicBezTo>
                      <a:cubicBezTo>
                        <a:pt x="90" y="56"/>
                        <a:pt x="73" y="77"/>
                        <a:pt x="62" y="84"/>
                      </a:cubicBezTo>
                      <a:cubicBezTo>
                        <a:pt x="38" y="76"/>
                        <a:pt x="29" y="86"/>
                        <a:pt x="22" y="108"/>
                      </a:cubicBezTo>
                      <a:cubicBezTo>
                        <a:pt x="0" y="93"/>
                        <a:pt x="17" y="80"/>
                        <a:pt x="26" y="60"/>
                      </a:cubicBezTo>
                      <a:cubicBezTo>
                        <a:pt x="29" y="52"/>
                        <a:pt x="34" y="36"/>
                        <a:pt x="34" y="36"/>
                      </a:cubicBezTo>
                      <a:cubicBezTo>
                        <a:pt x="30" y="20"/>
                        <a:pt x="34" y="15"/>
                        <a:pt x="34" y="0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16" name="Freeform 47"/>
                <p:cNvSpPr>
                  <a:spLocks/>
                </p:cNvSpPr>
                <p:nvPr/>
              </p:nvSpPr>
              <p:spPr bwMode="gray">
                <a:xfrm rot="-62515">
                  <a:off x="2591" y="1258"/>
                  <a:ext cx="67" cy="103"/>
                </a:xfrm>
                <a:custGeom>
                  <a:avLst/>
                  <a:gdLst>
                    <a:gd name="T0" fmla="*/ 40 w 66"/>
                    <a:gd name="T1" fmla="*/ 0 h 95"/>
                    <a:gd name="T2" fmla="*/ 68 w 66"/>
                    <a:gd name="T3" fmla="*/ 38 h 95"/>
                    <a:gd name="T4" fmla="*/ 44 w 66"/>
                    <a:gd name="T5" fmla="*/ 89 h 95"/>
                    <a:gd name="T6" fmla="*/ 10 w 66"/>
                    <a:gd name="T7" fmla="*/ 103 h 95"/>
                    <a:gd name="T8" fmla="*/ 2 w 66"/>
                    <a:gd name="T9" fmla="*/ 52 h 95"/>
                    <a:gd name="T10" fmla="*/ 14 w 66"/>
                    <a:gd name="T11" fmla="*/ 42 h 95"/>
                    <a:gd name="T12" fmla="*/ 22 w 66"/>
                    <a:gd name="T13" fmla="*/ 14 h 95"/>
                    <a:gd name="T14" fmla="*/ 40 w 66"/>
                    <a:gd name="T15" fmla="*/ 0 h 95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66" h="95">
                      <a:moveTo>
                        <a:pt x="38" y="0"/>
                      </a:moveTo>
                      <a:cubicBezTo>
                        <a:pt x="47" y="13"/>
                        <a:pt x="57" y="19"/>
                        <a:pt x="66" y="32"/>
                      </a:cubicBezTo>
                      <a:cubicBezTo>
                        <a:pt x="61" y="52"/>
                        <a:pt x="63" y="69"/>
                        <a:pt x="42" y="76"/>
                      </a:cubicBezTo>
                      <a:cubicBezTo>
                        <a:pt x="36" y="95"/>
                        <a:pt x="28" y="93"/>
                        <a:pt x="10" y="88"/>
                      </a:cubicBezTo>
                      <a:cubicBezTo>
                        <a:pt x="0" y="72"/>
                        <a:pt x="6" y="64"/>
                        <a:pt x="2" y="44"/>
                      </a:cubicBezTo>
                      <a:cubicBezTo>
                        <a:pt x="6" y="41"/>
                        <a:pt x="11" y="40"/>
                        <a:pt x="14" y="36"/>
                      </a:cubicBezTo>
                      <a:cubicBezTo>
                        <a:pt x="18" y="29"/>
                        <a:pt x="14" y="15"/>
                        <a:pt x="22" y="12"/>
                      </a:cubicBezTo>
                      <a:cubicBezTo>
                        <a:pt x="37" y="7"/>
                        <a:pt x="32" y="12"/>
                        <a:pt x="38" y="0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17" name="Freeform 48"/>
                <p:cNvSpPr>
                  <a:spLocks/>
                </p:cNvSpPr>
                <p:nvPr/>
              </p:nvSpPr>
              <p:spPr bwMode="gray">
                <a:xfrm rot="-62515">
                  <a:off x="2547" y="1361"/>
                  <a:ext cx="44" cy="42"/>
                </a:xfrm>
                <a:custGeom>
                  <a:avLst/>
                  <a:gdLst>
                    <a:gd name="T0" fmla="*/ 44 w 43"/>
                    <a:gd name="T1" fmla="*/ 2 h 39"/>
                    <a:gd name="T2" fmla="*/ 24 w 43"/>
                    <a:gd name="T3" fmla="*/ 6 h 39"/>
                    <a:gd name="T4" fmla="*/ 40 w 43"/>
                    <a:gd name="T5" fmla="*/ 26 h 39"/>
                    <a:gd name="T6" fmla="*/ 44 w 43"/>
                    <a:gd name="T7" fmla="*/ 2 h 39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43" h="39">
                      <a:moveTo>
                        <a:pt x="42" y="2"/>
                      </a:moveTo>
                      <a:cubicBezTo>
                        <a:pt x="35" y="3"/>
                        <a:pt x="26" y="0"/>
                        <a:pt x="22" y="6"/>
                      </a:cubicBezTo>
                      <a:cubicBezTo>
                        <a:pt x="0" y="39"/>
                        <a:pt x="36" y="23"/>
                        <a:pt x="38" y="22"/>
                      </a:cubicBezTo>
                      <a:cubicBezTo>
                        <a:pt x="43" y="7"/>
                        <a:pt x="42" y="14"/>
                        <a:pt x="42" y="2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18" name="Freeform 49"/>
                <p:cNvSpPr>
                  <a:spLocks/>
                </p:cNvSpPr>
                <p:nvPr/>
              </p:nvSpPr>
              <p:spPr bwMode="gray">
                <a:xfrm rot="-62515">
                  <a:off x="2623" y="1355"/>
                  <a:ext cx="94" cy="109"/>
                </a:xfrm>
                <a:custGeom>
                  <a:avLst/>
                  <a:gdLst>
                    <a:gd name="T0" fmla="*/ 30 w 92"/>
                    <a:gd name="T1" fmla="*/ 1 h 101"/>
                    <a:gd name="T2" fmla="*/ 4 w 92"/>
                    <a:gd name="T3" fmla="*/ 33 h 101"/>
                    <a:gd name="T4" fmla="*/ 0 w 92"/>
                    <a:gd name="T5" fmla="*/ 47 h 101"/>
                    <a:gd name="T6" fmla="*/ 34 w 92"/>
                    <a:gd name="T7" fmla="*/ 99 h 101"/>
                    <a:gd name="T8" fmla="*/ 71 w 92"/>
                    <a:gd name="T9" fmla="*/ 113 h 101"/>
                    <a:gd name="T10" fmla="*/ 84 w 92"/>
                    <a:gd name="T11" fmla="*/ 118 h 101"/>
                    <a:gd name="T12" fmla="*/ 80 w 92"/>
                    <a:gd name="T13" fmla="*/ 76 h 101"/>
                    <a:gd name="T14" fmla="*/ 92 w 92"/>
                    <a:gd name="T15" fmla="*/ 47 h 101"/>
                    <a:gd name="T16" fmla="*/ 42 w 92"/>
                    <a:gd name="T17" fmla="*/ 19 h 101"/>
                    <a:gd name="T18" fmla="*/ 30 w 92"/>
                    <a:gd name="T19" fmla="*/ 1 h 101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0" t="0" r="r" b="b"/>
                  <a:pathLst>
                    <a:path w="92" h="101">
                      <a:moveTo>
                        <a:pt x="28" y="1"/>
                      </a:moveTo>
                      <a:cubicBezTo>
                        <a:pt x="4" y="7"/>
                        <a:pt x="14" y="0"/>
                        <a:pt x="4" y="29"/>
                      </a:cubicBezTo>
                      <a:cubicBezTo>
                        <a:pt x="3" y="33"/>
                        <a:pt x="0" y="41"/>
                        <a:pt x="0" y="41"/>
                      </a:cubicBezTo>
                      <a:cubicBezTo>
                        <a:pt x="6" y="59"/>
                        <a:pt x="14" y="77"/>
                        <a:pt x="32" y="85"/>
                      </a:cubicBezTo>
                      <a:cubicBezTo>
                        <a:pt x="32" y="85"/>
                        <a:pt x="62" y="95"/>
                        <a:pt x="68" y="97"/>
                      </a:cubicBezTo>
                      <a:cubicBezTo>
                        <a:pt x="72" y="98"/>
                        <a:pt x="80" y="101"/>
                        <a:pt x="80" y="101"/>
                      </a:cubicBezTo>
                      <a:cubicBezTo>
                        <a:pt x="92" y="84"/>
                        <a:pt x="82" y="83"/>
                        <a:pt x="76" y="65"/>
                      </a:cubicBezTo>
                      <a:cubicBezTo>
                        <a:pt x="79" y="57"/>
                        <a:pt x="87" y="50"/>
                        <a:pt x="88" y="41"/>
                      </a:cubicBezTo>
                      <a:cubicBezTo>
                        <a:pt x="91" y="21"/>
                        <a:pt x="53" y="20"/>
                        <a:pt x="40" y="17"/>
                      </a:cubicBezTo>
                      <a:cubicBezTo>
                        <a:pt x="35" y="2"/>
                        <a:pt x="40" y="7"/>
                        <a:pt x="28" y="1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227" name="Group 50"/>
              <p:cNvGrpSpPr>
                <a:grpSpLocks/>
              </p:cNvGrpSpPr>
              <p:nvPr/>
            </p:nvGrpSpPr>
            <p:grpSpPr bwMode="auto">
              <a:xfrm>
                <a:off x="2165350" y="2838450"/>
                <a:ext cx="1903413" cy="2185988"/>
                <a:chOff x="1202" y="1831"/>
                <a:chExt cx="1247" cy="1432"/>
              </a:xfrm>
              <a:grpFill/>
            </p:grpSpPr>
            <p:sp>
              <p:nvSpPr>
                <p:cNvPr id="289" name="Freeform 51"/>
                <p:cNvSpPr>
                  <a:spLocks/>
                </p:cNvSpPr>
                <p:nvPr/>
              </p:nvSpPr>
              <p:spPr bwMode="gray">
                <a:xfrm rot="-91260">
                  <a:off x="1202" y="2525"/>
                  <a:ext cx="349" cy="398"/>
                </a:xfrm>
                <a:custGeom>
                  <a:avLst/>
                  <a:gdLst>
                    <a:gd name="T0" fmla="*/ 317 w 354"/>
                    <a:gd name="T1" fmla="*/ 44 h 395"/>
                    <a:gd name="T2" fmla="*/ 289 w 354"/>
                    <a:gd name="T3" fmla="*/ 26 h 395"/>
                    <a:gd name="T4" fmla="*/ 262 w 354"/>
                    <a:gd name="T5" fmla="*/ 17 h 395"/>
                    <a:gd name="T6" fmla="*/ 180 w 354"/>
                    <a:gd name="T7" fmla="*/ 38 h 395"/>
                    <a:gd name="T8" fmla="*/ 180 w 354"/>
                    <a:gd name="T9" fmla="*/ 88 h 395"/>
                    <a:gd name="T10" fmla="*/ 173 w 354"/>
                    <a:gd name="T11" fmla="*/ 115 h 395"/>
                    <a:gd name="T12" fmla="*/ 183 w 354"/>
                    <a:gd name="T13" fmla="*/ 163 h 395"/>
                    <a:gd name="T14" fmla="*/ 131 w 354"/>
                    <a:gd name="T15" fmla="*/ 163 h 395"/>
                    <a:gd name="T16" fmla="*/ 119 w 354"/>
                    <a:gd name="T17" fmla="*/ 166 h 395"/>
                    <a:gd name="T18" fmla="*/ 110 w 354"/>
                    <a:gd name="T19" fmla="*/ 172 h 395"/>
                    <a:gd name="T20" fmla="*/ 100 w 354"/>
                    <a:gd name="T21" fmla="*/ 151 h 395"/>
                    <a:gd name="T22" fmla="*/ 82 w 354"/>
                    <a:gd name="T23" fmla="*/ 142 h 395"/>
                    <a:gd name="T24" fmla="*/ 55 w 354"/>
                    <a:gd name="T25" fmla="*/ 196 h 395"/>
                    <a:gd name="T26" fmla="*/ 43 w 354"/>
                    <a:gd name="T27" fmla="*/ 237 h 395"/>
                    <a:gd name="T28" fmla="*/ 0 w 354"/>
                    <a:gd name="T29" fmla="*/ 270 h 395"/>
                    <a:gd name="T30" fmla="*/ 55 w 354"/>
                    <a:gd name="T31" fmla="*/ 334 h 395"/>
                    <a:gd name="T32" fmla="*/ 107 w 354"/>
                    <a:gd name="T33" fmla="*/ 401 h 395"/>
                    <a:gd name="T34" fmla="*/ 125 w 354"/>
                    <a:gd name="T35" fmla="*/ 362 h 395"/>
                    <a:gd name="T36" fmla="*/ 131 w 354"/>
                    <a:gd name="T37" fmla="*/ 344 h 395"/>
                    <a:gd name="T38" fmla="*/ 173 w 354"/>
                    <a:gd name="T39" fmla="*/ 334 h 395"/>
                    <a:gd name="T40" fmla="*/ 204 w 354"/>
                    <a:gd name="T41" fmla="*/ 312 h 395"/>
                    <a:gd name="T42" fmla="*/ 213 w 354"/>
                    <a:gd name="T43" fmla="*/ 309 h 395"/>
                    <a:gd name="T44" fmla="*/ 250 w 354"/>
                    <a:gd name="T45" fmla="*/ 273 h 395"/>
                    <a:gd name="T46" fmla="*/ 256 w 354"/>
                    <a:gd name="T47" fmla="*/ 222 h 395"/>
                    <a:gd name="T48" fmla="*/ 259 w 354"/>
                    <a:gd name="T49" fmla="*/ 181 h 395"/>
                    <a:gd name="T50" fmla="*/ 283 w 354"/>
                    <a:gd name="T51" fmla="*/ 160 h 395"/>
                    <a:gd name="T52" fmla="*/ 323 w 354"/>
                    <a:gd name="T53" fmla="*/ 118 h 395"/>
                    <a:gd name="T54" fmla="*/ 344 w 354"/>
                    <a:gd name="T55" fmla="*/ 73 h 395"/>
                    <a:gd name="T56" fmla="*/ 341 w 354"/>
                    <a:gd name="T57" fmla="*/ 53 h 395"/>
                    <a:gd name="T58" fmla="*/ 317 w 354"/>
                    <a:gd name="T59" fmla="*/ 44 h 395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354" h="395">
                      <a:moveTo>
                        <a:pt x="327" y="44"/>
                      </a:moveTo>
                      <a:cubicBezTo>
                        <a:pt x="309" y="35"/>
                        <a:pt x="319" y="40"/>
                        <a:pt x="297" y="26"/>
                      </a:cubicBezTo>
                      <a:cubicBezTo>
                        <a:pt x="289" y="21"/>
                        <a:pt x="270" y="17"/>
                        <a:pt x="270" y="17"/>
                      </a:cubicBezTo>
                      <a:cubicBezTo>
                        <a:pt x="213" y="19"/>
                        <a:pt x="199" y="0"/>
                        <a:pt x="186" y="38"/>
                      </a:cubicBezTo>
                      <a:cubicBezTo>
                        <a:pt x="192" y="57"/>
                        <a:pt x="192" y="66"/>
                        <a:pt x="186" y="86"/>
                      </a:cubicBezTo>
                      <a:cubicBezTo>
                        <a:pt x="183" y="95"/>
                        <a:pt x="177" y="113"/>
                        <a:pt x="177" y="113"/>
                      </a:cubicBezTo>
                      <a:cubicBezTo>
                        <a:pt x="179" y="136"/>
                        <a:pt x="178" y="144"/>
                        <a:pt x="189" y="161"/>
                      </a:cubicBezTo>
                      <a:cubicBezTo>
                        <a:pt x="173" y="194"/>
                        <a:pt x="160" y="169"/>
                        <a:pt x="135" y="161"/>
                      </a:cubicBezTo>
                      <a:cubicBezTo>
                        <a:pt x="131" y="162"/>
                        <a:pt x="127" y="162"/>
                        <a:pt x="123" y="164"/>
                      </a:cubicBezTo>
                      <a:cubicBezTo>
                        <a:pt x="120" y="165"/>
                        <a:pt x="117" y="171"/>
                        <a:pt x="114" y="170"/>
                      </a:cubicBezTo>
                      <a:cubicBezTo>
                        <a:pt x="107" y="167"/>
                        <a:pt x="108" y="154"/>
                        <a:pt x="102" y="149"/>
                      </a:cubicBezTo>
                      <a:cubicBezTo>
                        <a:pt x="97" y="145"/>
                        <a:pt x="90" y="144"/>
                        <a:pt x="84" y="140"/>
                      </a:cubicBezTo>
                      <a:cubicBezTo>
                        <a:pt x="73" y="156"/>
                        <a:pt x="63" y="175"/>
                        <a:pt x="57" y="194"/>
                      </a:cubicBezTo>
                      <a:cubicBezTo>
                        <a:pt x="55" y="205"/>
                        <a:pt x="55" y="224"/>
                        <a:pt x="45" y="233"/>
                      </a:cubicBezTo>
                      <a:cubicBezTo>
                        <a:pt x="31" y="246"/>
                        <a:pt x="14" y="252"/>
                        <a:pt x="0" y="266"/>
                      </a:cubicBezTo>
                      <a:cubicBezTo>
                        <a:pt x="6" y="315"/>
                        <a:pt x="23" y="306"/>
                        <a:pt x="57" y="329"/>
                      </a:cubicBezTo>
                      <a:cubicBezTo>
                        <a:pt x="74" y="355"/>
                        <a:pt x="83" y="381"/>
                        <a:pt x="111" y="395"/>
                      </a:cubicBezTo>
                      <a:cubicBezTo>
                        <a:pt x="131" y="388"/>
                        <a:pt x="125" y="377"/>
                        <a:pt x="129" y="356"/>
                      </a:cubicBezTo>
                      <a:cubicBezTo>
                        <a:pt x="130" y="350"/>
                        <a:pt x="129" y="340"/>
                        <a:pt x="135" y="338"/>
                      </a:cubicBezTo>
                      <a:cubicBezTo>
                        <a:pt x="161" y="329"/>
                        <a:pt x="147" y="333"/>
                        <a:pt x="177" y="329"/>
                      </a:cubicBezTo>
                      <a:cubicBezTo>
                        <a:pt x="186" y="315"/>
                        <a:pt x="193" y="314"/>
                        <a:pt x="210" y="308"/>
                      </a:cubicBezTo>
                      <a:cubicBezTo>
                        <a:pt x="213" y="307"/>
                        <a:pt x="219" y="305"/>
                        <a:pt x="219" y="305"/>
                      </a:cubicBezTo>
                      <a:cubicBezTo>
                        <a:pt x="224" y="273"/>
                        <a:pt x="236" y="284"/>
                        <a:pt x="258" y="269"/>
                      </a:cubicBezTo>
                      <a:cubicBezTo>
                        <a:pt x="272" y="248"/>
                        <a:pt x="273" y="244"/>
                        <a:pt x="264" y="218"/>
                      </a:cubicBezTo>
                      <a:cubicBezTo>
                        <a:pt x="265" y="205"/>
                        <a:pt x="265" y="192"/>
                        <a:pt x="267" y="179"/>
                      </a:cubicBezTo>
                      <a:cubicBezTo>
                        <a:pt x="269" y="169"/>
                        <a:pt x="286" y="161"/>
                        <a:pt x="291" y="158"/>
                      </a:cubicBezTo>
                      <a:cubicBezTo>
                        <a:pt x="308" y="147"/>
                        <a:pt x="317" y="127"/>
                        <a:pt x="333" y="116"/>
                      </a:cubicBezTo>
                      <a:cubicBezTo>
                        <a:pt x="341" y="104"/>
                        <a:pt x="349" y="85"/>
                        <a:pt x="354" y="71"/>
                      </a:cubicBezTo>
                      <a:cubicBezTo>
                        <a:pt x="353" y="65"/>
                        <a:pt x="354" y="58"/>
                        <a:pt x="351" y="53"/>
                      </a:cubicBezTo>
                      <a:cubicBezTo>
                        <a:pt x="351" y="52"/>
                        <a:pt x="318" y="35"/>
                        <a:pt x="327" y="44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90" name="Freeform 52"/>
                <p:cNvSpPr>
                  <a:spLocks/>
                </p:cNvSpPr>
                <p:nvPr/>
              </p:nvSpPr>
              <p:spPr bwMode="gray">
                <a:xfrm rot="-91260">
                  <a:off x="1311" y="2546"/>
                  <a:ext cx="386" cy="470"/>
                </a:xfrm>
                <a:custGeom>
                  <a:avLst/>
                  <a:gdLst>
                    <a:gd name="T0" fmla="*/ 47 w 392"/>
                    <a:gd name="T1" fmla="*/ 427 h 467"/>
                    <a:gd name="T2" fmla="*/ 31 w 392"/>
                    <a:gd name="T3" fmla="*/ 421 h 467"/>
                    <a:gd name="T4" fmla="*/ 28 w 392"/>
                    <a:gd name="T5" fmla="*/ 412 h 467"/>
                    <a:gd name="T6" fmla="*/ 10 w 392"/>
                    <a:gd name="T7" fmla="*/ 403 h 467"/>
                    <a:gd name="T8" fmla="*/ 7 w 392"/>
                    <a:gd name="T9" fmla="*/ 371 h 467"/>
                    <a:gd name="T10" fmla="*/ 19 w 392"/>
                    <a:gd name="T11" fmla="*/ 353 h 467"/>
                    <a:gd name="T12" fmla="*/ 47 w 392"/>
                    <a:gd name="T13" fmla="*/ 308 h 467"/>
                    <a:gd name="T14" fmla="*/ 92 w 392"/>
                    <a:gd name="T15" fmla="*/ 293 h 467"/>
                    <a:gd name="T16" fmla="*/ 126 w 392"/>
                    <a:gd name="T17" fmla="*/ 269 h 467"/>
                    <a:gd name="T18" fmla="*/ 144 w 392"/>
                    <a:gd name="T19" fmla="*/ 242 h 467"/>
                    <a:gd name="T20" fmla="*/ 147 w 392"/>
                    <a:gd name="T21" fmla="*/ 159 h 467"/>
                    <a:gd name="T22" fmla="*/ 163 w 392"/>
                    <a:gd name="T23" fmla="*/ 144 h 467"/>
                    <a:gd name="T24" fmla="*/ 196 w 392"/>
                    <a:gd name="T25" fmla="*/ 114 h 467"/>
                    <a:gd name="T26" fmla="*/ 220 w 392"/>
                    <a:gd name="T27" fmla="*/ 73 h 467"/>
                    <a:gd name="T28" fmla="*/ 227 w 392"/>
                    <a:gd name="T29" fmla="*/ 37 h 467"/>
                    <a:gd name="T30" fmla="*/ 245 w 392"/>
                    <a:gd name="T31" fmla="*/ 25 h 467"/>
                    <a:gd name="T32" fmla="*/ 281 w 392"/>
                    <a:gd name="T33" fmla="*/ 40 h 467"/>
                    <a:gd name="T34" fmla="*/ 300 w 392"/>
                    <a:gd name="T35" fmla="*/ 52 h 467"/>
                    <a:gd name="T36" fmla="*/ 303 w 392"/>
                    <a:gd name="T37" fmla="*/ 64 h 467"/>
                    <a:gd name="T38" fmla="*/ 312 w 392"/>
                    <a:gd name="T39" fmla="*/ 70 h 467"/>
                    <a:gd name="T40" fmla="*/ 339 w 392"/>
                    <a:gd name="T41" fmla="*/ 120 h 467"/>
                    <a:gd name="T42" fmla="*/ 333 w 392"/>
                    <a:gd name="T43" fmla="*/ 165 h 467"/>
                    <a:gd name="T44" fmla="*/ 336 w 392"/>
                    <a:gd name="T45" fmla="*/ 183 h 467"/>
                    <a:gd name="T46" fmla="*/ 342 w 392"/>
                    <a:gd name="T47" fmla="*/ 201 h 467"/>
                    <a:gd name="T48" fmla="*/ 339 w 392"/>
                    <a:gd name="T49" fmla="*/ 257 h 467"/>
                    <a:gd name="T50" fmla="*/ 345 w 392"/>
                    <a:gd name="T51" fmla="*/ 275 h 467"/>
                    <a:gd name="T52" fmla="*/ 361 w 392"/>
                    <a:gd name="T53" fmla="*/ 287 h 467"/>
                    <a:gd name="T54" fmla="*/ 373 w 392"/>
                    <a:gd name="T55" fmla="*/ 305 h 467"/>
                    <a:gd name="T56" fmla="*/ 376 w 392"/>
                    <a:gd name="T57" fmla="*/ 335 h 467"/>
                    <a:gd name="T58" fmla="*/ 379 w 392"/>
                    <a:gd name="T59" fmla="*/ 344 h 467"/>
                    <a:gd name="T60" fmla="*/ 373 w 392"/>
                    <a:gd name="T61" fmla="*/ 380 h 467"/>
                    <a:gd name="T62" fmla="*/ 330 w 392"/>
                    <a:gd name="T63" fmla="*/ 406 h 467"/>
                    <a:gd name="T64" fmla="*/ 278 w 392"/>
                    <a:gd name="T65" fmla="*/ 457 h 467"/>
                    <a:gd name="T66" fmla="*/ 251 w 392"/>
                    <a:gd name="T67" fmla="*/ 469 h 467"/>
                    <a:gd name="T68" fmla="*/ 225 w 392"/>
                    <a:gd name="T69" fmla="*/ 439 h 467"/>
                    <a:gd name="T70" fmla="*/ 184 w 392"/>
                    <a:gd name="T71" fmla="*/ 457 h 467"/>
                    <a:gd name="T72" fmla="*/ 89 w 392"/>
                    <a:gd name="T73" fmla="*/ 418 h 467"/>
                    <a:gd name="T74" fmla="*/ 47 w 392"/>
                    <a:gd name="T75" fmla="*/ 427 h 467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0" t="0" r="r" b="b"/>
                  <a:pathLst>
                    <a:path w="392" h="467">
                      <a:moveTo>
                        <a:pt x="49" y="421"/>
                      </a:moveTo>
                      <a:cubicBezTo>
                        <a:pt x="43" y="419"/>
                        <a:pt x="33" y="421"/>
                        <a:pt x="31" y="415"/>
                      </a:cubicBezTo>
                      <a:cubicBezTo>
                        <a:pt x="30" y="412"/>
                        <a:pt x="30" y="408"/>
                        <a:pt x="28" y="406"/>
                      </a:cubicBezTo>
                      <a:cubicBezTo>
                        <a:pt x="23" y="401"/>
                        <a:pt x="16" y="401"/>
                        <a:pt x="10" y="397"/>
                      </a:cubicBezTo>
                      <a:cubicBezTo>
                        <a:pt x="2" y="385"/>
                        <a:pt x="0" y="386"/>
                        <a:pt x="7" y="367"/>
                      </a:cubicBezTo>
                      <a:cubicBezTo>
                        <a:pt x="10" y="360"/>
                        <a:pt x="19" y="349"/>
                        <a:pt x="19" y="349"/>
                      </a:cubicBezTo>
                      <a:cubicBezTo>
                        <a:pt x="22" y="325"/>
                        <a:pt x="25" y="312"/>
                        <a:pt x="49" y="304"/>
                      </a:cubicBezTo>
                      <a:cubicBezTo>
                        <a:pt x="60" y="287"/>
                        <a:pt x="77" y="295"/>
                        <a:pt x="94" y="289"/>
                      </a:cubicBezTo>
                      <a:cubicBezTo>
                        <a:pt x="105" y="278"/>
                        <a:pt x="116" y="270"/>
                        <a:pt x="130" y="265"/>
                      </a:cubicBezTo>
                      <a:cubicBezTo>
                        <a:pt x="137" y="255"/>
                        <a:pt x="139" y="247"/>
                        <a:pt x="148" y="238"/>
                      </a:cubicBezTo>
                      <a:cubicBezTo>
                        <a:pt x="157" y="211"/>
                        <a:pt x="142" y="184"/>
                        <a:pt x="151" y="157"/>
                      </a:cubicBezTo>
                      <a:cubicBezTo>
                        <a:pt x="153" y="151"/>
                        <a:pt x="164" y="146"/>
                        <a:pt x="169" y="142"/>
                      </a:cubicBezTo>
                      <a:cubicBezTo>
                        <a:pt x="179" y="133"/>
                        <a:pt x="189" y="116"/>
                        <a:pt x="202" y="112"/>
                      </a:cubicBezTo>
                      <a:cubicBezTo>
                        <a:pt x="214" y="100"/>
                        <a:pt x="221" y="89"/>
                        <a:pt x="226" y="73"/>
                      </a:cubicBezTo>
                      <a:cubicBezTo>
                        <a:pt x="227" y="62"/>
                        <a:pt x="225" y="46"/>
                        <a:pt x="235" y="37"/>
                      </a:cubicBezTo>
                      <a:cubicBezTo>
                        <a:pt x="240" y="32"/>
                        <a:pt x="253" y="25"/>
                        <a:pt x="253" y="25"/>
                      </a:cubicBezTo>
                      <a:cubicBezTo>
                        <a:pt x="270" y="0"/>
                        <a:pt x="275" y="28"/>
                        <a:pt x="289" y="40"/>
                      </a:cubicBezTo>
                      <a:cubicBezTo>
                        <a:pt x="295" y="45"/>
                        <a:pt x="303" y="48"/>
                        <a:pt x="310" y="52"/>
                      </a:cubicBezTo>
                      <a:cubicBezTo>
                        <a:pt x="311" y="56"/>
                        <a:pt x="311" y="61"/>
                        <a:pt x="313" y="64"/>
                      </a:cubicBezTo>
                      <a:cubicBezTo>
                        <a:pt x="315" y="67"/>
                        <a:pt x="321" y="67"/>
                        <a:pt x="322" y="70"/>
                      </a:cubicBezTo>
                      <a:cubicBezTo>
                        <a:pt x="335" y="100"/>
                        <a:pt x="318" y="95"/>
                        <a:pt x="349" y="118"/>
                      </a:cubicBezTo>
                      <a:cubicBezTo>
                        <a:pt x="356" y="138"/>
                        <a:pt x="355" y="146"/>
                        <a:pt x="343" y="163"/>
                      </a:cubicBezTo>
                      <a:cubicBezTo>
                        <a:pt x="344" y="169"/>
                        <a:pt x="345" y="175"/>
                        <a:pt x="346" y="181"/>
                      </a:cubicBezTo>
                      <a:cubicBezTo>
                        <a:pt x="348" y="187"/>
                        <a:pt x="352" y="199"/>
                        <a:pt x="352" y="199"/>
                      </a:cubicBezTo>
                      <a:cubicBezTo>
                        <a:pt x="349" y="219"/>
                        <a:pt x="344" y="233"/>
                        <a:pt x="349" y="253"/>
                      </a:cubicBezTo>
                      <a:cubicBezTo>
                        <a:pt x="350" y="259"/>
                        <a:pt x="353" y="265"/>
                        <a:pt x="355" y="271"/>
                      </a:cubicBezTo>
                      <a:cubicBezTo>
                        <a:pt x="357" y="278"/>
                        <a:pt x="373" y="283"/>
                        <a:pt x="373" y="283"/>
                      </a:cubicBezTo>
                      <a:cubicBezTo>
                        <a:pt x="375" y="290"/>
                        <a:pt x="383" y="294"/>
                        <a:pt x="385" y="301"/>
                      </a:cubicBezTo>
                      <a:cubicBezTo>
                        <a:pt x="388" y="311"/>
                        <a:pt x="386" y="321"/>
                        <a:pt x="388" y="331"/>
                      </a:cubicBezTo>
                      <a:cubicBezTo>
                        <a:pt x="388" y="334"/>
                        <a:pt x="390" y="337"/>
                        <a:pt x="391" y="340"/>
                      </a:cubicBezTo>
                      <a:cubicBezTo>
                        <a:pt x="390" y="352"/>
                        <a:pt x="392" y="366"/>
                        <a:pt x="385" y="376"/>
                      </a:cubicBezTo>
                      <a:cubicBezTo>
                        <a:pt x="375" y="391"/>
                        <a:pt x="354" y="391"/>
                        <a:pt x="340" y="400"/>
                      </a:cubicBezTo>
                      <a:cubicBezTo>
                        <a:pt x="321" y="429"/>
                        <a:pt x="320" y="444"/>
                        <a:pt x="286" y="451"/>
                      </a:cubicBezTo>
                      <a:cubicBezTo>
                        <a:pt x="277" y="464"/>
                        <a:pt x="275" y="467"/>
                        <a:pt x="259" y="463"/>
                      </a:cubicBezTo>
                      <a:cubicBezTo>
                        <a:pt x="254" y="448"/>
                        <a:pt x="247" y="438"/>
                        <a:pt x="232" y="433"/>
                      </a:cubicBezTo>
                      <a:cubicBezTo>
                        <a:pt x="208" y="436"/>
                        <a:pt x="202" y="433"/>
                        <a:pt x="190" y="451"/>
                      </a:cubicBezTo>
                      <a:cubicBezTo>
                        <a:pt x="157" y="443"/>
                        <a:pt x="126" y="416"/>
                        <a:pt x="91" y="412"/>
                      </a:cubicBezTo>
                      <a:cubicBezTo>
                        <a:pt x="38" y="407"/>
                        <a:pt x="36" y="395"/>
                        <a:pt x="49" y="421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91" name="Freeform 53"/>
                <p:cNvSpPr>
                  <a:spLocks/>
                </p:cNvSpPr>
                <p:nvPr/>
              </p:nvSpPr>
              <p:spPr bwMode="gray">
                <a:xfrm rot="-91260">
                  <a:off x="1462" y="2971"/>
                  <a:ext cx="273" cy="209"/>
                </a:xfrm>
                <a:custGeom>
                  <a:avLst/>
                  <a:gdLst>
                    <a:gd name="T0" fmla="*/ 85 w 277"/>
                    <a:gd name="T1" fmla="*/ 187 h 207"/>
                    <a:gd name="T2" fmla="*/ 21 w 277"/>
                    <a:gd name="T3" fmla="*/ 172 h 207"/>
                    <a:gd name="T4" fmla="*/ 40 w 277"/>
                    <a:gd name="T5" fmla="*/ 149 h 207"/>
                    <a:gd name="T6" fmla="*/ 15 w 277"/>
                    <a:gd name="T7" fmla="*/ 137 h 207"/>
                    <a:gd name="T8" fmla="*/ 9 w 277"/>
                    <a:gd name="T9" fmla="*/ 107 h 207"/>
                    <a:gd name="T10" fmla="*/ 27 w 277"/>
                    <a:gd name="T11" fmla="*/ 95 h 207"/>
                    <a:gd name="T12" fmla="*/ 30 w 277"/>
                    <a:gd name="T13" fmla="*/ 86 h 207"/>
                    <a:gd name="T14" fmla="*/ 37 w 277"/>
                    <a:gd name="T15" fmla="*/ 80 h 207"/>
                    <a:gd name="T16" fmla="*/ 43 w 277"/>
                    <a:gd name="T17" fmla="*/ 62 h 207"/>
                    <a:gd name="T18" fmla="*/ 46 w 277"/>
                    <a:gd name="T19" fmla="*/ 51 h 207"/>
                    <a:gd name="T20" fmla="*/ 40 w 277"/>
                    <a:gd name="T21" fmla="*/ 30 h 207"/>
                    <a:gd name="T22" fmla="*/ 79 w 277"/>
                    <a:gd name="T23" fmla="*/ 0 h 207"/>
                    <a:gd name="T24" fmla="*/ 107 w 277"/>
                    <a:gd name="T25" fmla="*/ 6 h 207"/>
                    <a:gd name="T26" fmla="*/ 125 w 277"/>
                    <a:gd name="T27" fmla="*/ 30 h 207"/>
                    <a:gd name="T28" fmla="*/ 155 w 277"/>
                    <a:gd name="T29" fmla="*/ 15 h 207"/>
                    <a:gd name="T30" fmla="*/ 169 w 277"/>
                    <a:gd name="T31" fmla="*/ 80 h 207"/>
                    <a:gd name="T32" fmla="*/ 195 w 277"/>
                    <a:gd name="T33" fmla="*/ 95 h 207"/>
                    <a:gd name="T34" fmla="*/ 231 w 277"/>
                    <a:gd name="T35" fmla="*/ 134 h 207"/>
                    <a:gd name="T36" fmla="*/ 262 w 277"/>
                    <a:gd name="T37" fmla="*/ 166 h 207"/>
                    <a:gd name="T38" fmla="*/ 239 w 277"/>
                    <a:gd name="T39" fmla="*/ 196 h 207"/>
                    <a:gd name="T40" fmla="*/ 228 w 277"/>
                    <a:gd name="T41" fmla="*/ 208 h 207"/>
                    <a:gd name="T42" fmla="*/ 210 w 277"/>
                    <a:gd name="T43" fmla="*/ 196 h 207"/>
                    <a:gd name="T44" fmla="*/ 169 w 277"/>
                    <a:gd name="T45" fmla="*/ 187 h 207"/>
                    <a:gd name="T46" fmla="*/ 102 w 277"/>
                    <a:gd name="T47" fmla="*/ 205 h 207"/>
                    <a:gd name="T48" fmla="*/ 85 w 277"/>
                    <a:gd name="T49" fmla="*/ 187 h 207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0" t="0" r="r" b="b"/>
                  <a:pathLst>
                    <a:path w="277" h="207">
                      <a:moveTo>
                        <a:pt x="87" y="183"/>
                      </a:moveTo>
                      <a:cubicBezTo>
                        <a:pt x="64" y="175"/>
                        <a:pt x="44" y="173"/>
                        <a:pt x="21" y="168"/>
                      </a:cubicBezTo>
                      <a:cubicBezTo>
                        <a:pt x="42" y="154"/>
                        <a:pt x="37" y="163"/>
                        <a:pt x="42" y="147"/>
                      </a:cubicBezTo>
                      <a:cubicBezTo>
                        <a:pt x="21" y="140"/>
                        <a:pt x="29" y="145"/>
                        <a:pt x="15" y="135"/>
                      </a:cubicBezTo>
                      <a:cubicBezTo>
                        <a:pt x="12" y="126"/>
                        <a:pt x="0" y="115"/>
                        <a:pt x="9" y="105"/>
                      </a:cubicBezTo>
                      <a:cubicBezTo>
                        <a:pt x="14" y="100"/>
                        <a:pt x="27" y="93"/>
                        <a:pt x="27" y="93"/>
                      </a:cubicBezTo>
                      <a:cubicBezTo>
                        <a:pt x="28" y="90"/>
                        <a:pt x="28" y="86"/>
                        <a:pt x="30" y="84"/>
                      </a:cubicBezTo>
                      <a:cubicBezTo>
                        <a:pt x="32" y="81"/>
                        <a:pt x="37" y="81"/>
                        <a:pt x="39" y="78"/>
                      </a:cubicBezTo>
                      <a:cubicBezTo>
                        <a:pt x="42" y="73"/>
                        <a:pt x="43" y="66"/>
                        <a:pt x="45" y="60"/>
                      </a:cubicBezTo>
                      <a:cubicBezTo>
                        <a:pt x="46" y="57"/>
                        <a:pt x="48" y="51"/>
                        <a:pt x="48" y="51"/>
                      </a:cubicBezTo>
                      <a:cubicBezTo>
                        <a:pt x="46" y="44"/>
                        <a:pt x="42" y="37"/>
                        <a:pt x="42" y="30"/>
                      </a:cubicBezTo>
                      <a:cubicBezTo>
                        <a:pt x="42" y="14"/>
                        <a:pt x="68" y="4"/>
                        <a:pt x="81" y="0"/>
                      </a:cubicBezTo>
                      <a:cubicBezTo>
                        <a:pt x="91" y="2"/>
                        <a:pt x="102" y="1"/>
                        <a:pt x="111" y="6"/>
                      </a:cubicBezTo>
                      <a:cubicBezTo>
                        <a:pt x="112" y="6"/>
                        <a:pt x="122" y="25"/>
                        <a:pt x="129" y="30"/>
                      </a:cubicBezTo>
                      <a:cubicBezTo>
                        <a:pt x="139" y="25"/>
                        <a:pt x="148" y="19"/>
                        <a:pt x="159" y="15"/>
                      </a:cubicBezTo>
                      <a:cubicBezTo>
                        <a:pt x="173" y="36"/>
                        <a:pt x="167" y="55"/>
                        <a:pt x="174" y="78"/>
                      </a:cubicBezTo>
                      <a:cubicBezTo>
                        <a:pt x="177" y="88"/>
                        <a:pt x="201" y="93"/>
                        <a:pt x="201" y="93"/>
                      </a:cubicBezTo>
                      <a:cubicBezTo>
                        <a:pt x="209" y="106"/>
                        <a:pt x="224" y="123"/>
                        <a:pt x="237" y="132"/>
                      </a:cubicBezTo>
                      <a:cubicBezTo>
                        <a:pt x="246" y="145"/>
                        <a:pt x="259" y="151"/>
                        <a:pt x="270" y="162"/>
                      </a:cubicBezTo>
                      <a:cubicBezTo>
                        <a:pt x="277" y="184"/>
                        <a:pt x="265" y="188"/>
                        <a:pt x="246" y="192"/>
                      </a:cubicBezTo>
                      <a:cubicBezTo>
                        <a:pt x="244" y="197"/>
                        <a:pt x="244" y="207"/>
                        <a:pt x="234" y="204"/>
                      </a:cubicBezTo>
                      <a:cubicBezTo>
                        <a:pt x="227" y="202"/>
                        <a:pt x="222" y="196"/>
                        <a:pt x="216" y="192"/>
                      </a:cubicBezTo>
                      <a:cubicBezTo>
                        <a:pt x="207" y="186"/>
                        <a:pt x="182" y="184"/>
                        <a:pt x="174" y="183"/>
                      </a:cubicBezTo>
                      <a:cubicBezTo>
                        <a:pt x="71" y="188"/>
                        <a:pt x="142" y="177"/>
                        <a:pt x="105" y="201"/>
                      </a:cubicBezTo>
                      <a:cubicBezTo>
                        <a:pt x="97" y="197"/>
                        <a:pt x="67" y="190"/>
                        <a:pt x="87" y="183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92" name="Freeform 54"/>
                <p:cNvSpPr>
                  <a:spLocks/>
                </p:cNvSpPr>
                <p:nvPr/>
              </p:nvSpPr>
              <p:spPr bwMode="gray">
                <a:xfrm rot="-91260">
                  <a:off x="1614" y="2829"/>
                  <a:ext cx="431" cy="347"/>
                </a:xfrm>
                <a:custGeom>
                  <a:avLst/>
                  <a:gdLst>
                    <a:gd name="T0" fmla="*/ 207 w 438"/>
                    <a:gd name="T1" fmla="*/ 18 h 345"/>
                    <a:gd name="T2" fmla="*/ 156 w 438"/>
                    <a:gd name="T3" fmla="*/ 30 h 345"/>
                    <a:gd name="T4" fmla="*/ 82 w 438"/>
                    <a:gd name="T5" fmla="*/ 60 h 345"/>
                    <a:gd name="T6" fmla="*/ 73 w 438"/>
                    <a:gd name="T7" fmla="*/ 92 h 345"/>
                    <a:gd name="T8" fmla="*/ 46 w 438"/>
                    <a:gd name="T9" fmla="*/ 101 h 345"/>
                    <a:gd name="T10" fmla="*/ 21 w 438"/>
                    <a:gd name="T11" fmla="*/ 122 h 345"/>
                    <a:gd name="T12" fmla="*/ 6 w 438"/>
                    <a:gd name="T13" fmla="*/ 155 h 345"/>
                    <a:gd name="T14" fmla="*/ 0 w 438"/>
                    <a:gd name="T15" fmla="*/ 173 h 345"/>
                    <a:gd name="T16" fmla="*/ 21 w 438"/>
                    <a:gd name="T17" fmla="*/ 230 h 345"/>
                    <a:gd name="T18" fmla="*/ 46 w 438"/>
                    <a:gd name="T19" fmla="*/ 239 h 345"/>
                    <a:gd name="T20" fmla="*/ 88 w 438"/>
                    <a:gd name="T21" fmla="*/ 283 h 345"/>
                    <a:gd name="T22" fmla="*/ 134 w 438"/>
                    <a:gd name="T23" fmla="*/ 319 h 345"/>
                    <a:gd name="T24" fmla="*/ 162 w 438"/>
                    <a:gd name="T25" fmla="*/ 328 h 345"/>
                    <a:gd name="T26" fmla="*/ 195 w 438"/>
                    <a:gd name="T27" fmla="*/ 349 h 345"/>
                    <a:gd name="T28" fmla="*/ 220 w 438"/>
                    <a:gd name="T29" fmla="*/ 301 h 345"/>
                    <a:gd name="T30" fmla="*/ 250 w 438"/>
                    <a:gd name="T31" fmla="*/ 254 h 345"/>
                    <a:gd name="T32" fmla="*/ 235 w 438"/>
                    <a:gd name="T33" fmla="*/ 185 h 345"/>
                    <a:gd name="T34" fmla="*/ 229 w 438"/>
                    <a:gd name="T35" fmla="*/ 167 h 345"/>
                    <a:gd name="T36" fmla="*/ 259 w 438"/>
                    <a:gd name="T37" fmla="*/ 116 h 345"/>
                    <a:gd name="T38" fmla="*/ 273 w 438"/>
                    <a:gd name="T39" fmla="*/ 146 h 345"/>
                    <a:gd name="T40" fmla="*/ 337 w 438"/>
                    <a:gd name="T41" fmla="*/ 161 h 345"/>
                    <a:gd name="T42" fmla="*/ 369 w 438"/>
                    <a:gd name="T43" fmla="*/ 173 h 345"/>
                    <a:gd name="T44" fmla="*/ 424 w 438"/>
                    <a:gd name="T45" fmla="*/ 155 h 345"/>
                    <a:gd name="T46" fmla="*/ 384 w 438"/>
                    <a:gd name="T47" fmla="*/ 113 h 345"/>
                    <a:gd name="T48" fmla="*/ 348 w 438"/>
                    <a:gd name="T49" fmla="*/ 95 h 345"/>
                    <a:gd name="T50" fmla="*/ 320 w 438"/>
                    <a:gd name="T51" fmla="*/ 45 h 345"/>
                    <a:gd name="T52" fmla="*/ 290 w 438"/>
                    <a:gd name="T53" fmla="*/ 24 h 345"/>
                    <a:gd name="T54" fmla="*/ 265 w 438"/>
                    <a:gd name="T55" fmla="*/ 18 h 345"/>
                    <a:gd name="T56" fmla="*/ 238 w 438"/>
                    <a:gd name="T57" fmla="*/ 0 h 345"/>
                    <a:gd name="T58" fmla="*/ 213 w 438"/>
                    <a:gd name="T59" fmla="*/ 9 h 345"/>
                    <a:gd name="T60" fmla="*/ 198 w 438"/>
                    <a:gd name="T61" fmla="*/ 24 h 345"/>
                    <a:gd name="T62" fmla="*/ 207 w 438"/>
                    <a:gd name="T63" fmla="*/ 18 h 345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0" t="0" r="r" b="b"/>
                  <a:pathLst>
                    <a:path w="438" h="345">
                      <a:moveTo>
                        <a:pt x="213" y="18"/>
                      </a:moveTo>
                      <a:cubicBezTo>
                        <a:pt x="195" y="24"/>
                        <a:pt x="178" y="19"/>
                        <a:pt x="162" y="30"/>
                      </a:cubicBezTo>
                      <a:cubicBezTo>
                        <a:pt x="155" y="52"/>
                        <a:pt x="103" y="54"/>
                        <a:pt x="84" y="60"/>
                      </a:cubicBezTo>
                      <a:cubicBezTo>
                        <a:pt x="83" y="66"/>
                        <a:pt x="84" y="85"/>
                        <a:pt x="75" y="90"/>
                      </a:cubicBezTo>
                      <a:cubicBezTo>
                        <a:pt x="67" y="95"/>
                        <a:pt x="48" y="99"/>
                        <a:pt x="48" y="99"/>
                      </a:cubicBezTo>
                      <a:cubicBezTo>
                        <a:pt x="40" y="111"/>
                        <a:pt x="33" y="114"/>
                        <a:pt x="21" y="120"/>
                      </a:cubicBezTo>
                      <a:cubicBezTo>
                        <a:pt x="2" y="148"/>
                        <a:pt x="13" y="127"/>
                        <a:pt x="6" y="153"/>
                      </a:cubicBezTo>
                      <a:cubicBezTo>
                        <a:pt x="4" y="159"/>
                        <a:pt x="0" y="171"/>
                        <a:pt x="0" y="171"/>
                      </a:cubicBezTo>
                      <a:cubicBezTo>
                        <a:pt x="5" y="185"/>
                        <a:pt x="8" y="220"/>
                        <a:pt x="21" y="228"/>
                      </a:cubicBezTo>
                      <a:cubicBezTo>
                        <a:pt x="29" y="233"/>
                        <a:pt x="48" y="237"/>
                        <a:pt x="48" y="237"/>
                      </a:cubicBezTo>
                      <a:cubicBezTo>
                        <a:pt x="55" y="258"/>
                        <a:pt x="68" y="272"/>
                        <a:pt x="90" y="279"/>
                      </a:cubicBezTo>
                      <a:cubicBezTo>
                        <a:pt x="98" y="291"/>
                        <a:pt x="123" y="311"/>
                        <a:pt x="138" y="315"/>
                      </a:cubicBezTo>
                      <a:cubicBezTo>
                        <a:pt x="148" y="318"/>
                        <a:pt x="168" y="324"/>
                        <a:pt x="168" y="324"/>
                      </a:cubicBezTo>
                      <a:cubicBezTo>
                        <a:pt x="175" y="335"/>
                        <a:pt x="188" y="341"/>
                        <a:pt x="201" y="345"/>
                      </a:cubicBezTo>
                      <a:cubicBezTo>
                        <a:pt x="212" y="329"/>
                        <a:pt x="211" y="309"/>
                        <a:pt x="228" y="297"/>
                      </a:cubicBezTo>
                      <a:cubicBezTo>
                        <a:pt x="235" y="277"/>
                        <a:pt x="237" y="259"/>
                        <a:pt x="258" y="252"/>
                      </a:cubicBezTo>
                      <a:cubicBezTo>
                        <a:pt x="273" y="229"/>
                        <a:pt x="256" y="203"/>
                        <a:pt x="243" y="183"/>
                      </a:cubicBezTo>
                      <a:cubicBezTo>
                        <a:pt x="239" y="178"/>
                        <a:pt x="237" y="165"/>
                        <a:pt x="237" y="165"/>
                      </a:cubicBezTo>
                      <a:cubicBezTo>
                        <a:pt x="241" y="144"/>
                        <a:pt x="249" y="126"/>
                        <a:pt x="267" y="114"/>
                      </a:cubicBezTo>
                      <a:cubicBezTo>
                        <a:pt x="273" y="123"/>
                        <a:pt x="275" y="136"/>
                        <a:pt x="282" y="144"/>
                      </a:cubicBezTo>
                      <a:cubicBezTo>
                        <a:pt x="294" y="158"/>
                        <a:pt x="336" y="158"/>
                        <a:pt x="348" y="159"/>
                      </a:cubicBezTo>
                      <a:cubicBezTo>
                        <a:pt x="360" y="162"/>
                        <a:pt x="370" y="167"/>
                        <a:pt x="381" y="171"/>
                      </a:cubicBezTo>
                      <a:cubicBezTo>
                        <a:pt x="413" y="169"/>
                        <a:pt x="423" y="176"/>
                        <a:pt x="438" y="153"/>
                      </a:cubicBezTo>
                      <a:cubicBezTo>
                        <a:pt x="429" y="127"/>
                        <a:pt x="423" y="118"/>
                        <a:pt x="396" y="111"/>
                      </a:cubicBezTo>
                      <a:cubicBezTo>
                        <a:pt x="385" y="104"/>
                        <a:pt x="372" y="97"/>
                        <a:pt x="360" y="93"/>
                      </a:cubicBezTo>
                      <a:cubicBezTo>
                        <a:pt x="349" y="76"/>
                        <a:pt x="351" y="52"/>
                        <a:pt x="330" y="45"/>
                      </a:cubicBezTo>
                      <a:cubicBezTo>
                        <a:pt x="312" y="32"/>
                        <a:pt x="322" y="39"/>
                        <a:pt x="300" y="24"/>
                      </a:cubicBezTo>
                      <a:cubicBezTo>
                        <a:pt x="292" y="19"/>
                        <a:pt x="281" y="22"/>
                        <a:pt x="273" y="18"/>
                      </a:cubicBezTo>
                      <a:cubicBezTo>
                        <a:pt x="262" y="13"/>
                        <a:pt x="258" y="4"/>
                        <a:pt x="246" y="0"/>
                      </a:cubicBezTo>
                      <a:cubicBezTo>
                        <a:pt x="234" y="2"/>
                        <a:pt x="227" y="1"/>
                        <a:pt x="219" y="9"/>
                      </a:cubicBezTo>
                      <a:cubicBezTo>
                        <a:pt x="214" y="14"/>
                        <a:pt x="204" y="24"/>
                        <a:pt x="204" y="24"/>
                      </a:cubicBezTo>
                      <a:cubicBezTo>
                        <a:pt x="204" y="24"/>
                        <a:pt x="210" y="20"/>
                        <a:pt x="213" y="18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93" name="Freeform 55"/>
                <p:cNvSpPr>
                  <a:spLocks/>
                </p:cNvSpPr>
                <p:nvPr/>
              </p:nvSpPr>
              <p:spPr bwMode="gray">
                <a:xfrm rot="-91260">
                  <a:off x="1572" y="2335"/>
                  <a:ext cx="869" cy="644"/>
                </a:xfrm>
                <a:custGeom>
                  <a:avLst/>
                  <a:gdLst>
                    <a:gd name="T0" fmla="*/ 168 w 882"/>
                    <a:gd name="T1" fmla="*/ 14 h 640"/>
                    <a:gd name="T2" fmla="*/ 107 w 882"/>
                    <a:gd name="T3" fmla="*/ 11 h 640"/>
                    <a:gd name="T4" fmla="*/ 67 w 882"/>
                    <a:gd name="T5" fmla="*/ 85 h 640"/>
                    <a:gd name="T6" fmla="*/ 37 w 882"/>
                    <a:gd name="T7" fmla="*/ 118 h 640"/>
                    <a:gd name="T8" fmla="*/ 6 w 882"/>
                    <a:gd name="T9" fmla="*/ 166 h 640"/>
                    <a:gd name="T10" fmla="*/ 40 w 882"/>
                    <a:gd name="T11" fmla="*/ 252 h 640"/>
                    <a:gd name="T12" fmla="*/ 82 w 882"/>
                    <a:gd name="T13" fmla="*/ 327 h 640"/>
                    <a:gd name="T14" fmla="*/ 73 w 882"/>
                    <a:gd name="T15" fmla="*/ 369 h 640"/>
                    <a:gd name="T16" fmla="*/ 101 w 882"/>
                    <a:gd name="T17" fmla="*/ 500 h 640"/>
                    <a:gd name="T18" fmla="*/ 119 w 882"/>
                    <a:gd name="T19" fmla="*/ 554 h 640"/>
                    <a:gd name="T20" fmla="*/ 171 w 882"/>
                    <a:gd name="T21" fmla="*/ 542 h 640"/>
                    <a:gd name="T22" fmla="*/ 283 w 882"/>
                    <a:gd name="T23" fmla="*/ 512 h 640"/>
                    <a:gd name="T24" fmla="*/ 317 w 882"/>
                    <a:gd name="T25" fmla="*/ 527 h 640"/>
                    <a:gd name="T26" fmla="*/ 353 w 882"/>
                    <a:gd name="T27" fmla="*/ 574 h 640"/>
                    <a:gd name="T28" fmla="*/ 408 w 882"/>
                    <a:gd name="T29" fmla="*/ 610 h 640"/>
                    <a:gd name="T30" fmla="*/ 481 w 882"/>
                    <a:gd name="T31" fmla="*/ 613 h 640"/>
                    <a:gd name="T32" fmla="*/ 548 w 882"/>
                    <a:gd name="T33" fmla="*/ 509 h 640"/>
                    <a:gd name="T34" fmla="*/ 568 w 882"/>
                    <a:gd name="T35" fmla="*/ 494 h 640"/>
                    <a:gd name="T36" fmla="*/ 632 w 882"/>
                    <a:gd name="T37" fmla="*/ 524 h 640"/>
                    <a:gd name="T38" fmla="*/ 704 w 882"/>
                    <a:gd name="T39" fmla="*/ 542 h 640"/>
                    <a:gd name="T40" fmla="*/ 749 w 882"/>
                    <a:gd name="T41" fmla="*/ 527 h 640"/>
                    <a:gd name="T42" fmla="*/ 816 w 882"/>
                    <a:gd name="T43" fmla="*/ 533 h 640"/>
                    <a:gd name="T44" fmla="*/ 824 w 882"/>
                    <a:gd name="T45" fmla="*/ 467 h 640"/>
                    <a:gd name="T46" fmla="*/ 792 w 882"/>
                    <a:gd name="T47" fmla="*/ 410 h 640"/>
                    <a:gd name="T48" fmla="*/ 702 w 882"/>
                    <a:gd name="T49" fmla="*/ 354 h 640"/>
                    <a:gd name="T50" fmla="*/ 635 w 882"/>
                    <a:gd name="T51" fmla="*/ 387 h 640"/>
                    <a:gd name="T52" fmla="*/ 518 w 882"/>
                    <a:gd name="T53" fmla="*/ 324 h 640"/>
                    <a:gd name="T54" fmla="*/ 484 w 882"/>
                    <a:gd name="T55" fmla="*/ 306 h 640"/>
                    <a:gd name="T56" fmla="*/ 411 w 882"/>
                    <a:gd name="T57" fmla="*/ 288 h 640"/>
                    <a:gd name="T58" fmla="*/ 364 w 882"/>
                    <a:gd name="T59" fmla="*/ 184 h 640"/>
                    <a:gd name="T60" fmla="*/ 292 w 882"/>
                    <a:gd name="T61" fmla="*/ 187 h 640"/>
                    <a:gd name="T62" fmla="*/ 164 w 882"/>
                    <a:gd name="T63" fmla="*/ 77 h 640"/>
                    <a:gd name="T64" fmla="*/ 186 w 882"/>
                    <a:gd name="T65" fmla="*/ 11 h 640"/>
                    <a:gd name="T66" fmla="*/ 183 w 882"/>
                    <a:gd name="T67" fmla="*/ 2 h 64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882" h="640">
                      <a:moveTo>
                        <a:pt x="189" y="2"/>
                      </a:moveTo>
                      <a:cubicBezTo>
                        <a:pt x="171" y="8"/>
                        <a:pt x="188" y="0"/>
                        <a:pt x="174" y="14"/>
                      </a:cubicBezTo>
                      <a:cubicBezTo>
                        <a:pt x="165" y="23"/>
                        <a:pt x="152" y="24"/>
                        <a:pt x="141" y="26"/>
                      </a:cubicBezTo>
                      <a:cubicBezTo>
                        <a:pt x="130" y="23"/>
                        <a:pt x="111" y="11"/>
                        <a:pt x="111" y="11"/>
                      </a:cubicBezTo>
                      <a:cubicBezTo>
                        <a:pt x="97" y="20"/>
                        <a:pt x="91" y="29"/>
                        <a:pt x="78" y="38"/>
                      </a:cubicBezTo>
                      <a:cubicBezTo>
                        <a:pt x="73" y="53"/>
                        <a:pt x="74" y="69"/>
                        <a:pt x="69" y="83"/>
                      </a:cubicBezTo>
                      <a:cubicBezTo>
                        <a:pt x="68" y="86"/>
                        <a:pt x="63" y="87"/>
                        <a:pt x="60" y="89"/>
                      </a:cubicBezTo>
                      <a:cubicBezTo>
                        <a:pt x="49" y="98"/>
                        <a:pt x="47" y="103"/>
                        <a:pt x="39" y="116"/>
                      </a:cubicBezTo>
                      <a:cubicBezTo>
                        <a:pt x="31" y="128"/>
                        <a:pt x="33" y="141"/>
                        <a:pt x="18" y="146"/>
                      </a:cubicBezTo>
                      <a:cubicBezTo>
                        <a:pt x="14" y="152"/>
                        <a:pt x="8" y="157"/>
                        <a:pt x="6" y="164"/>
                      </a:cubicBezTo>
                      <a:cubicBezTo>
                        <a:pt x="4" y="170"/>
                        <a:pt x="0" y="182"/>
                        <a:pt x="0" y="182"/>
                      </a:cubicBezTo>
                      <a:cubicBezTo>
                        <a:pt x="5" y="241"/>
                        <a:pt x="2" y="221"/>
                        <a:pt x="42" y="248"/>
                      </a:cubicBezTo>
                      <a:cubicBezTo>
                        <a:pt x="48" y="266"/>
                        <a:pt x="50" y="288"/>
                        <a:pt x="66" y="299"/>
                      </a:cubicBezTo>
                      <a:cubicBezTo>
                        <a:pt x="73" y="309"/>
                        <a:pt x="80" y="312"/>
                        <a:pt x="84" y="323"/>
                      </a:cubicBezTo>
                      <a:cubicBezTo>
                        <a:pt x="83" y="331"/>
                        <a:pt x="83" y="339"/>
                        <a:pt x="81" y="347"/>
                      </a:cubicBezTo>
                      <a:cubicBezTo>
                        <a:pt x="80" y="353"/>
                        <a:pt x="75" y="365"/>
                        <a:pt x="75" y="365"/>
                      </a:cubicBezTo>
                      <a:cubicBezTo>
                        <a:pt x="82" y="395"/>
                        <a:pt x="79" y="420"/>
                        <a:pt x="69" y="449"/>
                      </a:cubicBezTo>
                      <a:cubicBezTo>
                        <a:pt x="74" y="476"/>
                        <a:pt x="95" y="471"/>
                        <a:pt x="105" y="494"/>
                      </a:cubicBezTo>
                      <a:cubicBezTo>
                        <a:pt x="110" y="505"/>
                        <a:pt x="113" y="518"/>
                        <a:pt x="117" y="530"/>
                      </a:cubicBezTo>
                      <a:cubicBezTo>
                        <a:pt x="119" y="536"/>
                        <a:pt x="123" y="548"/>
                        <a:pt x="123" y="548"/>
                      </a:cubicBezTo>
                      <a:cubicBezTo>
                        <a:pt x="140" y="546"/>
                        <a:pt x="145" y="546"/>
                        <a:pt x="159" y="542"/>
                      </a:cubicBezTo>
                      <a:cubicBezTo>
                        <a:pt x="165" y="540"/>
                        <a:pt x="177" y="536"/>
                        <a:pt x="177" y="536"/>
                      </a:cubicBezTo>
                      <a:cubicBezTo>
                        <a:pt x="194" y="519"/>
                        <a:pt x="226" y="520"/>
                        <a:pt x="249" y="518"/>
                      </a:cubicBezTo>
                      <a:cubicBezTo>
                        <a:pt x="262" y="499"/>
                        <a:pt x="265" y="503"/>
                        <a:pt x="291" y="506"/>
                      </a:cubicBezTo>
                      <a:lnTo>
                        <a:pt x="327" y="521"/>
                      </a:lnTo>
                      <a:cubicBezTo>
                        <a:pt x="327" y="521"/>
                        <a:pt x="327" y="521"/>
                        <a:pt x="327" y="521"/>
                      </a:cubicBezTo>
                      <a:cubicBezTo>
                        <a:pt x="333" y="523"/>
                        <a:pt x="345" y="527"/>
                        <a:pt x="345" y="527"/>
                      </a:cubicBezTo>
                      <a:cubicBezTo>
                        <a:pt x="350" y="543"/>
                        <a:pt x="346" y="560"/>
                        <a:pt x="363" y="566"/>
                      </a:cubicBezTo>
                      <a:cubicBezTo>
                        <a:pt x="367" y="572"/>
                        <a:pt x="378" y="586"/>
                        <a:pt x="384" y="590"/>
                      </a:cubicBezTo>
                      <a:cubicBezTo>
                        <a:pt x="393" y="595"/>
                        <a:pt x="410" y="599"/>
                        <a:pt x="420" y="602"/>
                      </a:cubicBezTo>
                      <a:cubicBezTo>
                        <a:pt x="432" y="606"/>
                        <a:pt x="443" y="616"/>
                        <a:pt x="456" y="620"/>
                      </a:cubicBezTo>
                      <a:cubicBezTo>
                        <a:pt x="469" y="640"/>
                        <a:pt x="478" y="611"/>
                        <a:pt x="495" y="605"/>
                      </a:cubicBezTo>
                      <a:cubicBezTo>
                        <a:pt x="510" y="583"/>
                        <a:pt x="522" y="571"/>
                        <a:pt x="549" y="566"/>
                      </a:cubicBezTo>
                      <a:cubicBezTo>
                        <a:pt x="556" y="545"/>
                        <a:pt x="557" y="524"/>
                        <a:pt x="564" y="503"/>
                      </a:cubicBezTo>
                      <a:cubicBezTo>
                        <a:pt x="565" y="500"/>
                        <a:pt x="566" y="497"/>
                        <a:pt x="567" y="494"/>
                      </a:cubicBezTo>
                      <a:cubicBezTo>
                        <a:pt x="569" y="488"/>
                        <a:pt x="585" y="488"/>
                        <a:pt x="585" y="488"/>
                      </a:cubicBezTo>
                      <a:cubicBezTo>
                        <a:pt x="600" y="492"/>
                        <a:pt x="612" y="495"/>
                        <a:pt x="627" y="497"/>
                      </a:cubicBezTo>
                      <a:cubicBezTo>
                        <a:pt x="636" y="506"/>
                        <a:pt x="639" y="514"/>
                        <a:pt x="651" y="518"/>
                      </a:cubicBezTo>
                      <a:cubicBezTo>
                        <a:pt x="667" y="514"/>
                        <a:pt x="671" y="512"/>
                        <a:pt x="687" y="515"/>
                      </a:cubicBezTo>
                      <a:cubicBezTo>
                        <a:pt x="699" y="523"/>
                        <a:pt x="712" y="531"/>
                        <a:pt x="726" y="536"/>
                      </a:cubicBezTo>
                      <a:cubicBezTo>
                        <a:pt x="740" y="535"/>
                        <a:pt x="758" y="540"/>
                        <a:pt x="768" y="530"/>
                      </a:cubicBezTo>
                      <a:cubicBezTo>
                        <a:pt x="770" y="528"/>
                        <a:pt x="769" y="523"/>
                        <a:pt x="771" y="521"/>
                      </a:cubicBezTo>
                      <a:cubicBezTo>
                        <a:pt x="775" y="517"/>
                        <a:pt x="787" y="514"/>
                        <a:pt x="792" y="512"/>
                      </a:cubicBezTo>
                      <a:cubicBezTo>
                        <a:pt x="808" y="517"/>
                        <a:pt x="824" y="522"/>
                        <a:pt x="840" y="527"/>
                      </a:cubicBezTo>
                      <a:cubicBezTo>
                        <a:pt x="854" y="523"/>
                        <a:pt x="854" y="516"/>
                        <a:pt x="867" y="512"/>
                      </a:cubicBezTo>
                      <a:cubicBezTo>
                        <a:pt x="882" y="489"/>
                        <a:pt x="870" y="475"/>
                        <a:pt x="849" y="461"/>
                      </a:cubicBezTo>
                      <a:cubicBezTo>
                        <a:pt x="844" y="447"/>
                        <a:pt x="856" y="425"/>
                        <a:pt x="846" y="413"/>
                      </a:cubicBezTo>
                      <a:cubicBezTo>
                        <a:pt x="843" y="410"/>
                        <a:pt x="821" y="406"/>
                        <a:pt x="816" y="404"/>
                      </a:cubicBezTo>
                      <a:cubicBezTo>
                        <a:pt x="795" y="398"/>
                        <a:pt x="772" y="389"/>
                        <a:pt x="753" y="377"/>
                      </a:cubicBezTo>
                      <a:cubicBezTo>
                        <a:pt x="746" y="366"/>
                        <a:pt x="735" y="354"/>
                        <a:pt x="723" y="350"/>
                      </a:cubicBezTo>
                      <a:cubicBezTo>
                        <a:pt x="706" y="357"/>
                        <a:pt x="697" y="361"/>
                        <a:pt x="681" y="371"/>
                      </a:cubicBezTo>
                      <a:cubicBezTo>
                        <a:pt x="673" y="376"/>
                        <a:pt x="654" y="383"/>
                        <a:pt x="654" y="383"/>
                      </a:cubicBezTo>
                      <a:cubicBezTo>
                        <a:pt x="635" y="377"/>
                        <a:pt x="616" y="371"/>
                        <a:pt x="597" y="365"/>
                      </a:cubicBezTo>
                      <a:cubicBezTo>
                        <a:pt x="587" y="336"/>
                        <a:pt x="559" y="331"/>
                        <a:pt x="534" y="320"/>
                      </a:cubicBezTo>
                      <a:cubicBezTo>
                        <a:pt x="528" y="317"/>
                        <a:pt x="521" y="318"/>
                        <a:pt x="516" y="314"/>
                      </a:cubicBezTo>
                      <a:cubicBezTo>
                        <a:pt x="510" y="310"/>
                        <a:pt x="498" y="302"/>
                        <a:pt x="498" y="302"/>
                      </a:cubicBezTo>
                      <a:cubicBezTo>
                        <a:pt x="474" y="305"/>
                        <a:pt x="467" y="304"/>
                        <a:pt x="459" y="281"/>
                      </a:cubicBezTo>
                      <a:cubicBezTo>
                        <a:pt x="445" y="286"/>
                        <a:pt x="438" y="287"/>
                        <a:pt x="423" y="284"/>
                      </a:cubicBezTo>
                      <a:cubicBezTo>
                        <a:pt x="409" y="263"/>
                        <a:pt x="419" y="237"/>
                        <a:pt x="408" y="215"/>
                      </a:cubicBezTo>
                      <a:cubicBezTo>
                        <a:pt x="401" y="201"/>
                        <a:pt x="386" y="193"/>
                        <a:pt x="375" y="182"/>
                      </a:cubicBezTo>
                      <a:cubicBezTo>
                        <a:pt x="369" y="158"/>
                        <a:pt x="363" y="167"/>
                        <a:pt x="345" y="173"/>
                      </a:cubicBezTo>
                      <a:cubicBezTo>
                        <a:pt x="332" y="193"/>
                        <a:pt x="327" y="188"/>
                        <a:pt x="300" y="185"/>
                      </a:cubicBezTo>
                      <a:cubicBezTo>
                        <a:pt x="309" y="110"/>
                        <a:pt x="253" y="125"/>
                        <a:pt x="192" y="122"/>
                      </a:cubicBezTo>
                      <a:cubicBezTo>
                        <a:pt x="183" y="108"/>
                        <a:pt x="173" y="93"/>
                        <a:pt x="168" y="77"/>
                      </a:cubicBezTo>
                      <a:cubicBezTo>
                        <a:pt x="178" y="62"/>
                        <a:pt x="192" y="49"/>
                        <a:pt x="198" y="32"/>
                      </a:cubicBezTo>
                      <a:cubicBezTo>
                        <a:pt x="198" y="32"/>
                        <a:pt x="193" y="12"/>
                        <a:pt x="192" y="11"/>
                      </a:cubicBezTo>
                      <a:cubicBezTo>
                        <a:pt x="190" y="9"/>
                        <a:pt x="184" y="11"/>
                        <a:pt x="183" y="8"/>
                      </a:cubicBezTo>
                      <a:cubicBezTo>
                        <a:pt x="182" y="5"/>
                        <a:pt x="187" y="4"/>
                        <a:pt x="189" y="2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94" name="Freeform 56"/>
                <p:cNvSpPr>
                  <a:spLocks/>
                </p:cNvSpPr>
                <p:nvPr/>
              </p:nvSpPr>
              <p:spPr bwMode="gray">
                <a:xfrm rot="-91260">
                  <a:off x="1720" y="1886"/>
                  <a:ext cx="729" cy="865"/>
                </a:xfrm>
                <a:custGeom>
                  <a:avLst/>
                  <a:gdLst>
                    <a:gd name="T0" fmla="*/ 652 w 740"/>
                    <a:gd name="T1" fmla="*/ 871 h 859"/>
                    <a:gd name="T2" fmla="*/ 539 w 740"/>
                    <a:gd name="T3" fmla="*/ 811 h 859"/>
                    <a:gd name="T4" fmla="*/ 405 w 740"/>
                    <a:gd name="T5" fmla="*/ 814 h 859"/>
                    <a:gd name="T6" fmla="*/ 289 w 740"/>
                    <a:gd name="T7" fmla="*/ 761 h 859"/>
                    <a:gd name="T8" fmla="*/ 271 w 740"/>
                    <a:gd name="T9" fmla="*/ 752 h 859"/>
                    <a:gd name="T10" fmla="*/ 238 w 740"/>
                    <a:gd name="T11" fmla="*/ 713 h 859"/>
                    <a:gd name="T12" fmla="*/ 158 w 740"/>
                    <a:gd name="T13" fmla="*/ 648 h 859"/>
                    <a:gd name="T14" fmla="*/ 119 w 740"/>
                    <a:gd name="T15" fmla="*/ 594 h 859"/>
                    <a:gd name="T16" fmla="*/ 24 w 740"/>
                    <a:gd name="T17" fmla="*/ 576 h 859"/>
                    <a:gd name="T18" fmla="*/ 9 w 740"/>
                    <a:gd name="T19" fmla="*/ 564 h 859"/>
                    <a:gd name="T20" fmla="*/ 18 w 740"/>
                    <a:gd name="T21" fmla="*/ 516 h 859"/>
                    <a:gd name="T22" fmla="*/ 30 w 740"/>
                    <a:gd name="T23" fmla="*/ 469 h 859"/>
                    <a:gd name="T24" fmla="*/ 34 w 740"/>
                    <a:gd name="T25" fmla="*/ 445 h 859"/>
                    <a:gd name="T26" fmla="*/ 134 w 740"/>
                    <a:gd name="T27" fmla="*/ 403 h 859"/>
                    <a:gd name="T28" fmla="*/ 174 w 740"/>
                    <a:gd name="T29" fmla="*/ 335 h 859"/>
                    <a:gd name="T30" fmla="*/ 180 w 740"/>
                    <a:gd name="T31" fmla="*/ 251 h 859"/>
                    <a:gd name="T32" fmla="*/ 238 w 740"/>
                    <a:gd name="T33" fmla="*/ 266 h 859"/>
                    <a:gd name="T34" fmla="*/ 271 w 740"/>
                    <a:gd name="T35" fmla="*/ 272 h 859"/>
                    <a:gd name="T36" fmla="*/ 250 w 740"/>
                    <a:gd name="T37" fmla="*/ 224 h 859"/>
                    <a:gd name="T38" fmla="*/ 292 w 740"/>
                    <a:gd name="T39" fmla="*/ 165 h 859"/>
                    <a:gd name="T40" fmla="*/ 326 w 740"/>
                    <a:gd name="T41" fmla="*/ 90 h 859"/>
                    <a:gd name="T42" fmla="*/ 372 w 740"/>
                    <a:gd name="T43" fmla="*/ 31 h 859"/>
                    <a:gd name="T44" fmla="*/ 425 w 740"/>
                    <a:gd name="T45" fmla="*/ 16 h 859"/>
                    <a:gd name="T46" fmla="*/ 417 w 740"/>
                    <a:gd name="T47" fmla="*/ 90 h 859"/>
                    <a:gd name="T48" fmla="*/ 387 w 740"/>
                    <a:gd name="T49" fmla="*/ 293 h 859"/>
                    <a:gd name="T50" fmla="*/ 393 w 740"/>
                    <a:gd name="T51" fmla="*/ 356 h 859"/>
                    <a:gd name="T52" fmla="*/ 361 w 740"/>
                    <a:gd name="T53" fmla="*/ 442 h 859"/>
                    <a:gd name="T54" fmla="*/ 280 w 740"/>
                    <a:gd name="T55" fmla="*/ 463 h 859"/>
                    <a:gd name="T56" fmla="*/ 274 w 740"/>
                    <a:gd name="T57" fmla="*/ 484 h 859"/>
                    <a:gd name="T58" fmla="*/ 369 w 740"/>
                    <a:gd name="T59" fmla="*/ 496 h 859"/>
                    <a:gd name="T60" fmla="*/ 411 w 740"/>
                    <a:gd name="T61" fmla="*/ 445 h 859"/>
                    <a:gd name="T62" fmla="*/ 433 w 740"/>
                    <a:gd name="T63" fmla="*/ 406 h 859"/>
                    <a:gd name="T64" fmla="*/ 463 w 740"/>
                    <a:gd name="T65" fmla="*/ 338 h 859"/>
                    <a:gd name="T66" fmla="*/ 487 w 740"/>
                    <a:gd name="T67" fmla="*/ 442 h 859"/>
                    <a:gd name="T68" fmla="*/ 512 w 740"/>
                    <a:gd name="T69" fmla="*/ 430 h 859"/>
                    <a:gd name="T70" fmla="*/ 445 w 740"/>
                    <a:gd name="T71" fmla="*/ 308 h 859"/>
                    <a:gd name="T72" fmla="*/ 436 w 740"/>
                    <a:gd name="T73" fmla="*/ 257 h 859"/>
                    <a:gd name="T74" fmla="*/ 454 w 740"/>
                    <a:gd name="T75" fmla="*/ 227 h 859"/>
                    <a:gd name="T76" fmla="*/ 484 w 740"/>
                    <a:gd name="T77" fmla="*/ 96 h 859"/>
                    <a:gd name="T78" fmla="*/ 509 w 740"/>
                    <a:gd name="T79" fmla="*/ 49 h 859"/>
                    <a:gd name="T80" fmla="*/ 492 w 740"/>
                    <a:gd name="T81" fmla="*/ 126 h 859"/>
                    <a:gd name="T82" fmla="*/ 512 w 740"/>
                    <a:gd name="T83" fmla="*/ 159 h 859"/>
                    <a:gd name="T84" fmla="*/ 539 w 740"/>
                    <a:gd name="T85" fmla="*/ 177 h 859"/>
                    <a:gd name="T86" fmla="*/ 536 w 740"/>
                    <a:gd name="T87" fmla="*/ 159 h 859"/>
                    <a:gd name="T88" fmla="*/ 573 w 740"/>
                    <a:gd name="T89" fmla="*/ 126 h 859"/>
                    <a:gd name="T90" fmla="*/ 582 w 740"/>
                    <a:gd name="T91" fmla="*/ 150 h 859"/>
                    <a:gd name="T92" fmla="*/ 609 w 740"/>
                    <a:gd name="T93" fmla="*/ 198 h 859"/>
                    <a:gd name="T94" fmla="*/ 582 w 740"/>
                    <a:gd name="T95" fmla="*/ 251 h 859"/>
                    <a:gd name="T96" fmla="*/ 567 w 740"/>
                    <a:gd name="T97" fmla="*/ 302 h 859"/>
                    <a:gd name="T98" fmla="*/ 612 w 740"/>
                    <a:gd name="T99" fmla="*/ 341 h 859"/>
                    <a:gd name="T100" fmla="*/ 626 w 740"/>
                    <a:gd name="T101" fmla="*/ 436 h 859"/>
                    <a:gd name="T102" fmla="*/ 629 w 740"/>
                    <a:gd name="T103" fmla="*/ 496 h 859"/>
                    <a:gd name="T104" fmla="*/ 643 w 740"/>
                    <a:gd name="T105" fmla="*/ 543 h 859"/>
                    <a:gd name="T106" fmla="*/ 673 w 740"/>
                    <a:gd name="T107" fmla="*/ 630 h 859"/>
                    <a:gd name="T108" fmla="*/ 710 w 740"/>
                    <a:gd name="T109" fmla="*/ 710 h 859"/>
                    <a:gd name="T110" fmla="*/ 693 w 740"/>
                    <a:gd name="T111" fmla="*/ 817 h 859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0" t="0" r="r" b="b"/>
                  <a:pathLst>
                    <a:path w="740" h="859">
                      <a:moveTo>
                        <a:pt x="711" y="763"/>
                      </a:moveTo>
                      <a:cubicBezTo>
                        <a:pt x="717" y="795"/>
                        <a:pt x="707" y="847"/>
                        <a:pt x="672" y="859"/>
                      </a:cubicBezTo>
                      <a:cubicBezTo>
                        <a:pt x="645" y="850"/>
                        <a:pt x="620" y="838"/>
                        <a:pt x="594" y="829"/>
                      </a:cubicBezTo>
                      <a:cubicBezTo>
                        <a:pt x="578" y="805"/>
                        <a:pt x="576" y="813"/>
                        <a:pt x="555" y="799"/>
                      </a:cubicBezTo>
                      <a:cubicBezTo>
                        <a:pt x="543" y="817"/>
                        <a:pt x="518" y="822"/>
                        <a:pt x="498" y="826"/>
                      </a:cubicBezTo>
                      <a:cubicBezTo>
                        <a:pt x="462" y="823"/>
                        <a:pt x="449" y="813"/>
                        <a:pt x="417" y="802"/>
                      </a:cubicBezTo>
                      <a:cubicBezTo>
                        <a:pt x="403" y="780"/>
                        <a:pt x="375" y="784"/>
                        <a:pt x="354" y="772"/>
                      </a:cubicBezTo>
                      <a:cubicBezTo>
                        <a:pt x="323" y="755"/>
                        <a:pt x="335" y="755"/>
                        <a:pt x="297" y="751"/>
                      </a:cubicBezTo>
                      <a:cubicBezTo>
                        <a:pt x="294" y="749"/>
                        <a:pt x="291" y="747"/>
                        <a:pt x="288" y="745"/>
                      </a:cubicBezTo>
                      <a:cubicBezTo>
                        <a:pt x="285" y="744"/>
                        <a:pt x="282" y="744"/>
                        <a:pt x="279" y="742"/>
                      </a:cubicBezTo>
                      <a:cubicBezTo>
                        <a:pt x="273" y="738"/>
                        <a:pt x="261" y="730"/>
                        <a:pt x="261" y="730"/>
                      </a:cubicBezTo>
                      <a:cubicBezTo>
                        <a:pt x="247" y="709"/>
                        <a:pt x="251" y="719"/>
                        <a:pt x="246" y="703"/>
                      </a:cubicBezTo>
                      <a:cubicBezTo>
                        <a:pt x="243" y="675"/>
                        <a:pt x="238" y="645"/>
                        <a:pt x="213" y="628"/>
                      </a:cubicBezTo>
                      <a:cubicBezTo>
                        <a:pt x="202" y="594"/>
                        <a:pt x="174" y="630"/>
                        <a:pt x="162" y="640"/>
                      </a:cubicBezTo>
                      <a:cubicBezTo>
                        <a:pt x="160" y="642"/>
                        <a:pt x="156" y="642"/>
                        <a:pt x="153" y="643"/>
                      </a:cubicBezTo>
                      <a:cubicBezTo>
                        <a:pt x="123" y="637"/>
                        <a:pt x="132" y="612"/>
                        <a:pt x="123" y="586"/>
                      </a:cubicBezTo>
                      <a:cubicBezTo>
                        <a:pt x="120" y="576"/>
                        <a:pt x="102" y="573"/>
                        <a:pt x="93" y="571"/>
                      </a:cubicBezTo>
                      <a:cubicBezTo>
                        <a:pt x="63" y="573"/>
                        <a:pt x="50" y="577"/>
                        <a:pt x="24" y="568"/>
                      </a:cubicBezTo>
                      <a:cubicBezTo>
                        <a:pt x="22" y="565"/>
                        <a:pt x="21" y="561"/>
                        <a:pt x="18" y="559"/>
                      </a:cubicBezTo>
                      <a:cubicBezTo>
                        <a:pt x="16" y="557"/>
                        <a:pt x="11" y="558"/>
                        <a:pt x="9" y="556"/>
                      </a:cubicBezTo>
                      <a:cubicBezTo>
                        <a:pt x="4" y="551"/>
                        <a:pt x="4" y="544"/>
                        <a:pt x="0" y="538"/>
                      </a:cubicBezTo>
                      <a:cubicBezTo>
                        <a:pt x="3" y="522"/>
                        <a:pt x="5" y="517"/>
                        <a:pt x="18" y="508"/>
                      </a:cubicBezTo>
                      <a:cubicBezTo>
                        <a:pt x="32" y="487"/>
                        <a:pt x="28" y="497"/>
                        <a:pt x="33" y="481"/>
                      </a:cubicBezTo>
                      <a:cubicBezTo>
                        <a:pt x="32" y="475"/>
                        <a:pt x="32" y="469"/>
                        <a:pt x="30" y="463"/>
                      </a:cubicBezTo>
                      <a:cubicBezTo>
                        <a:pt x="27" y="456"/>
                        <a:pt x="18" y="445"/>
                        <a:pt x="18" y="445"/>
                      </a:cubicBezTo>
                      <a:cubicBezTo>
                        <a:pt x="24" y="443"/>
                        <a:pt x="30" y="441"/>
                        <a:pt x="36" y="439"/>
                      </a:cubicBezTo>
                      <a:cubicBezTo>
                        <a:pt x="39" y="438"/>
                        <a:pt x="45" y="436"/>
                        <a:pt x="45" y="436"/>
                      </a:cubicBezTo>
                      <a:cubicBezTo>
                        <a:pt x="58" y="416"/>
                        <a:pt x="114" y="405"/>
                        <a:pt x="138" y="397"/>
                      </a:cubicBezTo>
                      <a:cubicBezTo>
                        <a:pt x="149" y="381"/>
                        <a:pt x="165" y="380"/>
                        <a:pt x="180" y="370"/>
                      </a:cubicBezTo>
                      <a:cubicBezTo>
                        <a:pt x="187" y="349"/>
                        <a:pt x="185" y="352"/>
                        <a:pt x="180" y="331"/>
                      </a:cubicBezTo>
                      <a:cubicBezTo>
                        <a:pt x="185" y="307"/>
                        <a:pt x="182" y="299"/>
                        <a:pt x="201" y="286"/>
                      </a:cubicBezTo>
                      <a:cubicBezTo>
                        <a:pt x="196" y="248"/>
                        <a:pt x="194" y="272"/>
                        <a:pt x="186" y="247"/>
                      </a:cubicBezTo>
                      <a:cubicBezTo>
                        <a:pt x="190" y="232"/>
                        <a:pt x="193" y="231"/>
                        <a:pt x="207" y="226"/>
                      </a:cubicBezTo>
                      <a:cubicBezTo>
                        <a:pt x="222" y="231"/>
                        <a:pt x="231" y="252"/>
                        <a:pt x="246" y="262"/>
                      </a:cubicBezTo>
                      <a:cubicBezTo>
                        <a:pt x="257" y="294"/>
                        <a:pt x="254" y="291"/>
                        <a:pt x="282" y="310"/>
                      </a:cubicBezTo>
                      <a:cubicBezTo>
                        <a:pt x="305" y="299"/>
                        <a:pt x="298" y="280"/>
                        <a:pt x="279" y="268"/>
                      </a:cubicBezTo>
                      <a:cubicBezTo>
                        <a:pt x="269" y="253"/>
                        <a:pt x="280" y="259"/>
                        <a:pt x="285" y="244"/>
                      </a:cubicBezTo>
                      <a:cubicBezTo>
                        <a:pt x="282" y="234"/>
                        <a:pt x="269" y="224"/>
                        <a:pt x="258" y="220"/>
                      </a:cubicBezTo>
                      <a:cubicBezTo>
                        <a:pt x="262" y="201"/>
                        <a:pt x="271" y="196"/>
                        <a:pt x="288" y="190"/>
                      </a:cubicBezTo>
                      <a:cubicBezTo>
                        <a:pt x="291" y="180"/>
                        <a:pt x="297" y="173"/>
                        <a:pt x="300" y="163"/>
                      </a:cubicBezTo>
                      <a:cubicBezTo>
                        <a:pt x="299" y="157"/>
                        <a:pt x="297" y="151"/>
                        <a:pt x="297" y="145"/>
                      </a:cubicBezTo>
                      <a:cubicBezTo>
                        <a:pt x="297" y="88"/>
                        <a:pt x="303" y="110"/>
                        <a:pt x="336" y="88"/>
                      </a:cubicBezTo>
                      <a:cubicBezTo>
                        <a:pt x="345" y="74"/>
                        <a:pt x="350" y="64"/>
                        <a:pt x="363" y="55"/>
                      </a:cubicBezTo>
                      <a:cubicBezTo>
                        <a:pt x="377" y="34"/>
                        <a:pt x="369" y="41"/>
                        <a:pt x="384" y="31"/>
                      </a:cubicBezTo>
                      <a:cubicBezTo>
                        <a:pt x="393" y="5"/>
                        <a:pt x="393" y="8"/>
                        <a:pt x="423" y="4"/>
                      </a:cubicBezTo>
                      <a:cubicBezTo>
                        <a:pt x="446" y="12"/>
                        <a:pt x="419" y="0"/>
                        <a:pt x="438" y="16"/>
                      </a:cubicBezTo>
                      <a:cubicBezTo>
                        <a:pt x="444" y="21"/>
                        <a:pt x="457" y="25"/>
                        <a:pt x="465" y="28"/>
                      </a:cubicBezTo>
                      <a:cubicBezTo>
                        <a:pt x="474" y="56"/>
                        <a:pt x="438" y="61"/>
                        <a:pt x="429" y="88"/>
                      </a:cubicBezTo>
                      <a:cubicBezTo>
                        <a:pt x="433" y="137"/>
                        <a:pt x="433" y="188"/>
                        <a:pt x="417" y="235"/>
                      </a:cubicBezTo>
                      <a:cubicBezTo>
                        <a:pt x="411" y="254"/>
                        <a:pt x="403" y="269"/>
                        <a:pt x="399" y="289"/>
                      </a:cubicBezTo>
                      <a:cubicBezTo>
                        <a:pt x="397" y="297"/>
                        <a:pt x="393" y="313"/>
                        <a:pt x="393" y="313"/>
                      </a:cubicBezTo>
                      <a:cubicBezTo>
                        <a:pt x="396" y="328"/>
                        <a:pt x="396" y="339"/>
                        <a:pt x="405" y="352"/>
                      </a:cubicBezTo>
                      <a:cubicBezTo>
                        <a:pt x="402" y="384"/>
                        <a:pt x="398" y="392"/>
                        <a:pt x="381" y="418"/>
                      </a:cubicBezTo>
                      <a:cubicBezTo>
                        <a:pt x="375" y="427"/>
                        <a:pt x="382" y="428"/>
                        <a:pt x="372" y="436"/>
                      </a:cubicBezTo>
                      <a:cubicBezTo>
                        <a:pt x="368" y="439"/>
                        <a:pt x="345" y="442"/>
                        <a:pt x="345" y="442"/>
                      </a:cubicBezTo>
                      <a:cubicBezTo>
                        <a:pt x="325" y="447"/>
                        <a:pt x="309" y="454"/>
                        <a:pt x="288" y="457"/>
                      </a:cubicBezTo>
                      <a:cubicBezTo>
                        <a:pt x="261" y="450"/>
                        <a:pt x="272" y="454"/>
                        <a:pt x="255" y="448"/>
                      </a:cubicBezTo>
                      <a:cubicBezTo>
                        <a:pt x="250" y="463"/>
                        <a:pt x="269" y="472"/>
                        <a:pt x="282" y="478"/>
                      </a:cubicBezTo>
                      <a:cubicBezTo>
                        <a:pt x="295" y="498"/>
                        <a:pt x="314" y="501"/>
                        <a:pt x="333" y="514"/>
                      </a:cubicBezTo>
                      <a:cubicBezTo>
                        <a:pt x="343" y="485"/>
                        <a:pt x="345" y="493"/>
                        <a:pt x="381" y="490"/>
                      </a:cubicBezTo>
                      <a:cubicBezTo>
                        <a:pt x="402" y="469"/>
                        <a:pt x="392" y="477"/>
                        <a:pt x="408" y="466"/>
                      </a:cubicBezTo>
                      <a:cubicBezTo>
                        <a:pt x="412" y="453"/>
                        <a:pt x="411" y="447"/>
                        <a:pt x="423" y="439"/>
                      </a:cubicBezTo>
                      <a:cubicBezTo>
                        <a:pt x="428" y="425"/>
                        <a:pt x="435" y="431"/>
                        <a:pt x="441" y="418"/>
                      </a:cubicBezTo>
                      <a:cubicBezTo>
                        <a:pt x="444" y="412"/>
                        <a:pt x="447" y="400"/>
                        <a:pt x="447" y="400"/>
                      </a:cubicBezTo>
                      <a:cubicBezTo>
                        <a:pt x="438" y="374"/>
                        <a:pt x="444" y="363"/>
                        <a:pt x="459" y="340"/>
                      </a:cubicBezTo>
                      <a:cubicBezTo>
                        <a:pt x="463" y="335"/>
                        <a:pt x="477" y="334"/>
                        <a:pt x="477" y="334"/>
                      </a:cubicBezTo>
                      <a:cubicBezTo>
                        <a:pt x="515" y="340"/>
                        <a:pt x="499" y="367"/>
                        <a:pt x="492" y="400"/>
                      </a:cubicBezTo>
                      <a:cubicBezTo>
                        <a:pt x="492" y="403"/>
                        <a:pt x="497" y="435"/>
                        <a:pt x="501" y="436"/>
                      </a:cubicBezTo>
                      <a:cubicBezTo>
                        <a:pt x="516" y="441"/>
                        <a:pt x="532" y="448"/>
                        <a:pt x="546" y="457"/>
                      </a:cubicBezTo>
                      <a:cubicBezTo>
                        <a:pt x="543" y="439"/>
                        <a:pt x="543" y="434"/>
                        <a:pt x="528" y="424"/>
                      </a:cubicBezTo>
                      <a:cubicBezTo>
                        <a:pt x="524" y="406"/>
                        <a:pt x="525" y="404"/>
                        <a:pt x="540" y="394"/>
                      </a:cubicBezTo>
                      <a:cubicBezTo>
                        <a:pt x="559" y="338"/>
                        <a:pt x="504" y="315"/>
                        <a:pt x="459" y="304"/>
                      </a:cubicBezTo>
                      <a:cubicBezTo>
                        <a:pt x="447" y="296"/>
                        <a:pt x="446" y="283"/>
                        <a:pt x="438" y="271"/>
                      </a:cubicBezTo>
                      <a:cubicBezTo>
                        <a:pt x="442" y="265"/>
                        <a:pt x="447" y="259"/>
                        <a:pt x="450" y="253"/>
                      </a:cubicBezTo>
                      <a:cubicBezTo>
                        <a:pt x="452" y="249"/>
                        <a:pt x="454" y="245"/>
                        <a:pt x="456" y="241"/>
                      </a:cubicBezTo>
                      <a:cubicBezTo>
                        <a:pt x="460" y="235"/>
                        <a:pt x="468" y="223"/>
                        <a:pt x="468" y="223"/>
                      </a:cubicBezTo>
                      <a:cubicBezTo>
                        <a:pt x="477" y="189"/>
                        <a:pt x="464" y="154"/>
                        <a:pt x="471" y="118"/>
                      </a:cubicBezTo>
                      <a:cubicBezTo>
                        <a:pt x="473" y="106"/>
                        <a:pt x="498" y="94"/>
                        <a:pt x="498" y="94"/>
                      </a:cubicBezTo>
                      <a:cubicBezTo>
                        <a:pt x="503" y="78"/>
                        <a:pt x="499" y="88"/>
                        <a:pt x="513" y="67"/>
                      </a:cubicBezTo>
                      <a:cubicBezTo>
                        <a:pt x="517" y="61"/>
                        <a:pt x="525" y="49"/>
                        <a:pt x="525" y="49"/>
                      </a:cubicBezTo>
                      <a:cubicBezTo>
                        <a:pt x="530" y="64"/>
                        <a:pt x="525" y="92"/>
                        <a:pt x="519" y="106"/>
                      </a:cubicBezTo>
                      <a:cubicBezTo>
                        <a:pt x="516" y="113"/>
                        <a:pt x="511" y="118"/>
                        <a:pt x="507" y="124"/>
                      </a:cubicBezTo>
                      <a:cubicBezTo>
                        <a:pt x="505" y="127"/>
                        <a:pt x="501" y="133"/>
                        <a:pt x="501" y="133"/>
                      </a:cubicBezTo>
                      <a:cubicBezTo>
                        <a:pt x="506" y="154"/>
                        <a:pt x="500" y="143"/>
                        <a:pt x="528" y="157"/>
                      </a:cubicBezTo>
                      <a:cubicBezTo>
                        <a:pt x="534" y="160"/>
                        <a:pt x="540" y="165"/>
                        <a:pt x="546" y="169"/>
                      </a:cubicBezTo>
                      <a:cubicBezTo>
                        <a:pt x="549" y="171"/>
                        <a:pt x="555" y="175"/>
                        <a:pt x="555" y="175"/>
                      </a:cubicBezTo>
                      <a:cubicBezTo>
                        <a:pt x="559" y="188"/>
                        <a:pt x="566" y="187"/>
                        <a:pt x="579" y="190"/>
                      </a:cubicBezTo>
                      <a:cubicBezTo>
                        <a:pt x="592" y="170"/>
                        <a:pt x="566" y="166"/>
                        <a:pt x="552" y="157"/>
                      </a:cubicBezTo>
                      <a:cubicBezTo>
                        <a:pt x="542" y="142"/>
                        <a:pt x="538" y="125"/>
                        <a:pt x="558" y="118"/>
                      </a:cubicBezTo>
                      <a:cubicBezTo>
                        <a:pt x="574" y="123"/>
                        <a:pt x="573" y="128"/>
                        <a:pt x="591" y="124"/>
                      </a:cubicBezTo>
                      <a:cubicBezTo>
                        <a:pt x="600" y="98"/>
                        <a:pt x="593" y="99"/>
                        <a:pt x="624" y="109"/>
                      </a:cubicBezTo>
                      <a:cubicBezTo>
                        <a:pt x="632" y="133"/>
                        <a:pt x="616" y="137"/>
                        <a:pt x="600" y="148"/>
                      </a:cubicBezTo>
                      <a:cubicBezTo>
                        <a:pt x="607" y="176"/>
                        <a:pt x="597" y="147"/>
                        <a:pt x="612" y="166"/>
                      </a:cubicBezTo>
                      <a:cubicBezTo>
                        <a:pt x="621" y="177"/>
                        <a:pt x="613" y="187"/>
                        <a:pt x="627" y="196"/>
                      </a:cubicBezTo>
                      <a:cubicBezTo>
                        <a:pt x="629" y="207"/>
                        <a:pt x="633" y="224"/>
                        <a:pt x="627" y="235"/>
                      </a:cubicBezTo>
                      <a:cubicBezTo>
                        <a:pt x="625" y="239"/>
                        <a:pt x="605" y="244"/>
                        <a:pt x="600" y="247"/>
                      </a:cubicBezTo>
                      <a:cubicBezTo>
                        <a:pt x="587" y="254"/>
                        <a:pt x="578" y="266"/>
                        <a:pt x="564" y="271"/>
                      </a:cubicBezTo>
                      <a:cubicBezTo>
                        <a:pt x="567" y="291"/>
                        <a:pt x="567" y="292"/>
                        <a:pt x="585" y="298"/>
                      </a:cubicBezTo>
                      <a:cubicBezTo>
                        <a:pt x="591" y="307"/>
                        <a:pt x="593" y="322"/>
                        <a:pt x="603" y="325"/>
                      </a:cubicBezTo>
                      <a:cubicBezTo>
                        <a:pt x="624" y="332"/>
                        <a:pt x="616" y="327"/>
                        <a:pt x="630" y="337"/>
                      </a:cubicBezTo>
                      <a:cubicBezTo>
                        <a:pt x="644" y="332"/>
                        <a:pt x="658" y="330"/>
                        <a:pt x="663" y="346"/>
                      </a:cubicBezTo>
                      <a:cubicBezTo>
                        <a:pt x="654" y="372"/>
                        <a:pt x="672" y="412"/>
                        <a:pt x="645" y="430"/>
                      </a:cubicBezTo>
                      <a:cubicBezTo>
                        <a:pt x="641" y="436"/>
                        <a:pt x="631" y="438"/>
                        <a:pt x="630" y="445"/>
                      </a:cubicBezTo>
                      <a:cubicBezTo>
                        <a:pt x="626" y="468"/>
                        <a:pt x="632" y="479"/>
                        <a:pt x="648" y="490"/>
                      </a:cubicBezTo>
                      <a:cubicBezTo>
                        <a:pt x="659" y="507"/>
                        <a:pt x="651" y="491"/>
                        <a:pt x="657" y="517"/>
                      </a:cubicBezTo>
                      <a:cubicBezTo>
                        <a:pt x="659" y="523"/>
                        <a:pt x="663" y="535"/>
                        <a:pt x="663" y="535"/>
                      </a:cubicBezTo>
                      <a:cubicBezTo>
                        <a:pt x="659" y="564"/>
                        <a:pt x="666" y="585"/>
                        <a:pt x="675" y="613"/>
                      </a:cubicBezTo>
                      <a:cubicBezTo>
                        <a:pt x="677" y="619"/>
                        <a:pt x="687" y="618"/>
                        <a:pt x="693" y="622"/>
                      </a:cubicBezTo>
                      <a:cubicBezTo>
                        <a:pt x="700" y="643"/>
                        <a:pt x="701" y="634"/>
                        <a:pt x="696" y="649"/>
                      </a:cubicBezTo>
                      <a:cubicBezTo>
                        <a:pt x="703" y="671"/>
                        <a:pt x="712" y="687"/>
                        <a:pt x="732" y="700"/>
                      </a:cubicBezTo>
                      <a:cubicBezTo>
                        <a:pt x="740" y="723"/>
                        <a:pt x="738" y="746"/>
                        <a:pt x="714" y="754"/>
                      </a:cubicBezTo>
                      <a:cubicBezTo>
                        <a:pt x="708" y="771"/>
                        <a:pt x="714" y="787"/>
                        <a:pt x="714" y="805"/>
                      </a:cubicBezTo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95" name="Freeform 57"/>
                <p:cNvSpPr>
                  <a:spLocks/>
                </p:cNvSpPr>
                <p:nvPr/>
              </p:nvSpPr>
              <p:spPr bwMode="gray">
                <a:xfrm rot="-91260">
                  <a:off x="2132" y="1831"/>
                  <a:ext cx="31" cy="54"/>
                </a:xfrm>
                <a:custGeom>
                  <a:avLst/>
                  <a:gdLst>
                    <a:gd name="T0" fmla="*/ 27 w 32"/>
                    <a:gd name="T1" fmla="*/ 21 h 54"/>
                    <a:gd name="T2" fmla="*/ 5 w 32"/>
                    <a:gd name="T3" fmla="*/ 0 h 54"/>
                    <a:gd name="T4" fmla="*/ 11 w 32"/>
                    <a:gd name="T5" fmla="*/ 39 h 54"/>
                    <a:gd name="T6" fmla="*/ 27 w 32"/>
                    <a:gd name="T7" fmla="*/ 48 h 54"/>
                    <a:gd name="T8" fmla="*/ 27 w 32"/>
                    <a:gd name="T9" fmla="*/ 21 h 5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2" h="54">
                      <a:moveTo>
                        <a:pt x="29" y="21"/>
                      </a:moveTo>
                      <a:cubicBezTo>
                        <a:pt x="19" y="14"/>
                        <a:pt x="15" y="7"/>
                        <a:pt x="5" y="0"/>
                      </a:cubicBezTo>
                      <a:cubicBezTo>
                        <a:pt x="0" y="14"/>
                        <a:pt x="6" y="25"/>
                        <a:pt x="11" y="39"/>
                      </a:cubicBezTo>
                      <a:cubicBezTo>
                        <a:pt x="13" y="45"/>
                        <a:pt x="27" y="54"/>
                        <a:pt x="29" y="48"/>
                      </a:cubicBezTo>
                      <a:cubicBezTo>
                        <a:pt x="32" y="40"/>
                        <a:pt x="29" y="30"/>
                        <a:pt x="29" y="21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96" name="Freeform 58"/>
                <p:cNvSpPr>
                  <a:spLocks/>
                </p:cNvSpPr>
                <p:nvPr/>
              </p:nvSpPr>
              <p:spPr bwMode="gray">
                <a:xfrm rot="-91260">
                  <a:off x="2252" y="1936"/>
                  <a:ext cx="39" cy="16"/>
                </a:xfrm>
                <a:custGeom>
                  <a:avLst/>
                  <a:gdLst>
                    <a:gd name="T0" fmla="*/ 27 w 39"/>
                    <a:gd name="T1" fmla="*/ 3 h 16"/>
                    <a:gd name="T2" fmla="*/ 39 w 39"/>
                    <a:gd name="T3" fmla="*/ 12 h 16"/>
                    <a:gd name="T4" fmla="*/ 27 w 39"/>
                    <a:gd name="T5" fmla="*/ 3 h 1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39" h="16">
                      <a:moveTo>
                        <a:pt x="27" y="3"/>
                      </a:moveTo>
                      <a:cubicBezTo>
                        <a:pt x="5" y="10"/>
                        <a:pt x="0" y="16"/>
                        <a:pt x="39" y="12"/>
                      </a:cubicBezTo>
                      <a:cubicBezTo>
                        <a:pt x="35" y="0"/>
                        <a:pt x="39" y="3"/>
                        <a:pt x="27" y="3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97" name="Freeform 59"/>
                <p:cNvSpPr>
                  <a:spLocks/>
                </p:cNvSpPr>
                <p:nvPr/>
              </p:nvSpPr>
              <p:spPr bwMode="gray">
                <a:xfrm rot="-91260">
                  <a:off x="2299" y="1908"/>
                  <a:ext cx="52" cy="36"/>
                </a:xfrm>
                <a:custGeom>
                  <a:avLst/>
                  <a:gdLst>
                    <a:gd name="T0" fmla="*/ 26 w 52"/>
                    <a:gd name="T1" fmla="*/ 0 h 36"/>
                    <a:gd name="T2" fmla="*/ 32 w 52"/>
                    <a:gd name="T3" fmla="*/ 36 h 36"/>
                    <a:gd name="T4" fmla="*/ 26 w 52"/>
                    <a:gd name="T5" fmla="*/ 0 h 3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52" h="36">
                      <a:moveTo>
                        <a:pt x="26" y="0"/>
                      </a:moveTo>
                      <a:cubicBezTo>
                        <a:pt x="0" y="9"/>
                        <a:pt x="17" y="26"/>
                        <a:pt x="32" y="36"/>
                      </a:cubicBezTo>
                      <a:cubicBezTo>
                        <a:pt x="52" y="29"/>
                        <a:pt x="36" y="10"/>
                        <a:pt x="26" y="0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98" name="Freeform 60"/>
                <p:cNvSpPr>
                  <a:spLocks/>
                </p:cNvSpPr>
                <p:nvPr/>
              </p:nvSpPr>
              <p:spPr bwMode="gray">
                <a:xfrm>
                  <a:off x="1260" y="2946"/>
                  <a:ext cx="260" cy="317"/>
                </a:xfrm>
                <a:custGeom>
                  <a:avLst/>
                  <a:gdLst>
                    <a:gd name="T0" fmla="*/ 207 w 260"/>
                    <a:gd name="T1" fmla="*/ 42 h 317"/>
                    <a:gd name="T2" fmla="*/ 168 w 260"/>
                    <a:gd name="T3" fmla="*/ 27 h 317"/>
                    <a:gd name="T4" fmla="*/ 150 w 260"/>
                    <a:gd name="T5" fmla="*/ 21 h 317"/>
                    <a:gd name="T6" fmla="*/ 123 w 260"/>
                    <a:gd name="T7" fmla="*/ 3 h 317"/>
                    <a:gd name="T8" fmla="*/ 99 w 260"/>
                    <a:gd name="T9" fmla="*/ 33 h 317"/>
                    <a:gd name="T10" fmla="*/ 81 w 260"/>
                    <a:gd name="T11" fmla="*/ 39 h 317"/>
                    <a:gd name="T12" fmla="*/ 57 w 260"/>
                    <a:gd name="T13" fmla="*/ 6 h 317"/>
                    <a:gd name="T14" fmla="*/ 39 w 260"/>
                    <a:gd name="T15" fmla="*/ 0 h 317"/>
                    <a:gd name="T16" fmla="*/ 21 w 260"/>
                    <a:gd name="T17" fmla="*/ 33 h 317"/>
                    <a:gd name="T18" fmla="*/ 39 w 260"/>
                    <a:gd name="T19" fmla="*/ 66 h 317"/>
                    <a:gd name="T20" fmla="*/ 66 w 260"/>
                    <a:gd name="T21" fmla="*/ 75 h 317"/>
                    <a:gd name="T22" fmla="*/ 51 w 260"/>
                    <a:gd name="T23" fmla="*/ 114 h 317"/>
                    <a:gd name="T24" fmla="*/ 30 w 260"/>
                    <a:gd name="T25" fmla="*/ 138 h 317"/>
                    <a:gd name="T26" fmla="*/ 0 w 260"/>
                    <a:gd name="T27" fmla="*/ 192 h 317"/>
                    <a:gd name="T28" fmla="*/ 33 w 260"/>
                    <a:gd name="T29" fmla="*/ 207 h 317"/>
                    <a:gd name="T30" fmla="*/ 60 w 260"/>
                    <a:gd name="T31" fmla="*/ 303 h 317"/>
                    <a:gd name="T32" fmla="*/ 84 w 260"/>
                    <a:gd name="T33" fmla="*/ 309 h 317"/>
                    <a:gd name="T34" fmla="*/ 108 w 260"/>
                    <a:gd name="T35" fmla="*/ 291 h 317"/>
                    <a:gd name="T36" fmla="*/ 147 w 260"/>
                    <a:gd name="T37" fmla="*/ 258 h 317"/>
                    <a:gd name="T38" fmla="*/ 144 w 260"/>
                    <a:gd name="T39" fmla="*/ 240 h 317"/>
                    <a:gd name="T40" fmla="*/ 138 w 260"/>
                    <a:gd name="T41" fmla="*/ 222 h 317"/>
                    <a:gd name="T42" fmla="*/ 144 w 260"/>
                    <a:gd name="T43" fmla="*/ 195 h 317"/>
                    <a:gd name="T44" fmla="*/ 162 w 260"/>
                    <a:gd name="T45" fmla="*/ 183 h 317"/>
                    <a:gd name="T46" fmla="*/ 201 w 260"/>
                    <a:gd name="T47" fmla="*/ 198 h 317"/>
                    <a:gd name="T48" fmla="*/ 240 w 260"/>
                    <a:gd name="T49" fmla="*/ 189 h 317"/>
                    <a:gd name="T50" fmla="*/ 225 w 260"/>
                    <a:gd name="T51" fmla="*/ 165 h 317"/>
                    <a:gd name="T52" fmla="*/ 213 w 260"/>
                    <a:gd name="T53" fmla="*/ 147 h 317"/>
                    <a:gd name="T54" fmla="*/ 252 w 260"/>
                    <a:gd name="T55" fmla="*/ 114 h 317"/>
                    <a:gd name="T56" fmla="*/ 249 w 260"/>
                    <a:gd name="T57" fmla="*/ 63 h 317"/>
                    <a:gd name="T58" fmla="*/ 231 w 260"/>
                    <a:gd name="T59" fmla="*/ 51 h 317"/>
                    <a:gd name="T60" fmla="*/ 207 w 260"/>
                    <a:gd name="T61" fmla="*/ 42 h 317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0" t="0" r="r" b="b"/>
                  <a:pathLst>
                    <a:path w="260" h="317">
                      <a:moveTo>
                        <a:pt x="207" y="42"/>
                      </a:moveTo>
                      <a:cubicBezTo>
                        <a:pt x="197" y="27"/>
                        <a:pt x="184" y="32"/>
                        <a:pt x="168" y="27"/>
                      </a:cubicBezTo>
                      <a:cubicBezTo>
                        <a:pt x="162" y="25"/>
                        <a:pt x="150" y="21"/>
                        <a:pt x="150" y="21"/>
                      </a:cubicBezTo>
                      <a:cubicBezTo>
                        <a:pt x="141" y="12"/>
                        <a:pt x="135" y="7"/>
                        <a:pt x="123" y="3"/>
                      </a:cubicBezTo>
                      <a:cubicBezTo>
                        <a:pt x="99" y="9"/>
                        <a:pt x="111" y="25"/>
                        <a:pt x="99" y="33"/>
                      </a:cubicBezTo>
                      <a:cubicBezTo>
                        <a:pt x="94" y="37"/>
                        <a:pt x="81" y="39"/>
                        <a:pt x="81" y="39"/>
                      </a:cubicBezTo>
                      <a:cubicBezTo>
                        <a:pt x="69" y="31"/>
                        <a:pt x="66" y="19"/>
                        <a:pt x="57" y="6"/>
                      </a:cubicBezTo>
                      <a:cubicBezTo>
                        <a:pt x="53" y="1"/>
                        <a:pt x="39" y="0"/>
                        <a:pt x="39" y="0"/>
                      </a:cubicBezTo>
                      <a:cubicBezTo>
                        <a:pt x="19" y="5"/>
                        <a:pt x="27" y="16"/>
                        <a:pt x="21" y="33"/>
                      </a:cubicBezTo>
                      <a:cubicBezTo>
                        <a:pt x="24" y="40"/>
                        <a:pt x="32" y="64"/>
                        <a:pt x="39" y="66"/>
                      </a:cubicBezTo>
                      <a:cubicBezTo>
                        <a:pt x="48" y="69"/>
                        <a:pt x="66" y="75"/>
                        <a:pt x="66" y="75"/>
                      </a:cubicBezTo>
                      <a:cubicBezTo>
                        <a:pt x="73" y="96"/>
                        <a:pt x="75" y="106"/>
                        <a:pt x="51" y="114"/>
                      </a:cubicBezTo>
                      <a:cubicBezTo>
                        <a:pt x="45" y="124"/>
                        <a:pt x="35" y="128"/>
                        <a:pt x="30" y="138"/>
                      </a:cubicBezTo>
                      <a:cubicBezTo>
                        <a:pt x="20" y="158"/>
                        <a:pt x="25" y="184"/>
                        <a:pt x="0" y="192"/>
                      </a:cubicBezTo>
                      <a:cubicBezTo>
                        <a:pt x="6" y="215"/>
                        <a:pt x="16" y="196"/>
                        <a:pt x="33" y="207"/>
                      </a:cubicBezTo>
                      <a:cubicBezTo>
                        <a:pt x="37" y="235"/>
                        <a:pt x="32" y="294"/>
                        <a:pt x="60" y="303"/>
                      </a:cubicBezTo>
                      <a:cubicBezTo>
                        <a:pt x="68" y="315"/>
                        <a:pt x="71" y="317"/>
                        <a:pt x="84" y="309"/>
                      </a:cubicBezTo>
                      <a:cubicBezTo>
                        <a:pt x="91" y="299"/>
                        <a:pt x="96" y="295"/>
                        <a:pt x="108" y="291"/>
                      </a:cubicBezTo>
                      <a:cubicBezTo>
                        <a:pt x="115" y="271"/>
                        <a:pt x="131" y="268"/>
                        <a:pt x="147" y="258"/>
                      </a:cubicBezTo>
                      <a:cubicBezTo>
                        <a:pt x="146" y="252"/>
                        <a:pt x="145" y="246"/>
                        <a:pt x="144" y="240"/>
                      </a:cubicBezTo>
                      <a:cubicBezTo>
                        <a:pt x="142" y="234"/>
                        <a:pt x="138" y="222"/>
                        <a:pt x="138" y="222"/>
                      </a:cubicBezTo>
                      <a:cubicBezTo>
                        <a:pt x="140" y="213"/>
                        <a:pt x="137" y="202"/>
                        <a:pt x="144" y="195"/>
                      </a:cubicBezTo>
                      <a:cubicBezTo>
                        <a:pt x="149" y="190"/>
                        <a:pt x="162" y="183"/>
                        <a:pt x="162" y="183"/>
                      </a:cubicBezTo>
                      <a:cubicBezTo>
                        <a:pt x="176" y="188"/>
                        <a:pt x="187" y="194"/>
                        <a:pt x="201" y="198"/>
                      </a:cubicBezTo>
                      <a:cubicBezTo>
                        <a:pt x="214" y="195"/>
                        <a:pt x="227" y="193"/>
                        <a:pt x="240" y="189"/>
                      </a:cubicBezTo>
                      <a:cubicBezTo>
                        <a:pt x="233" y="168"/>
                        <a:pt x="239" y="175"/>
                        <a:pt x="225" y="165"/>
                      </a:cubicBezTo>
                      <a:cubicBezTo>
                        <a:pt x="221" y="159"/>
                        <a:pt x="211" y="154"/>
                        <a:pt x="213" y="147"/>
                      </a:cubicBezTo>
                      <a:cubicBezTo>
                        <a:pt x="218" y="132"/>
                        <a:pt x="237" y="119"/>
                        <a:pt x="252" y="114"/>
                      </a:cubicBezTo>
                      <a:cubicBezTo>
                        <a:pt x="257" y="100"/>
                        <a:pt x="260" y="74"/>
                        <a:pt x="249" y="63"/>
                      </a:cubicBezTo>
                      <a:cubicBezTo>
                        <a:pt x="244" y="58"/>
                        <a:pt x="231" y="51"/>
                        <a:pt x="231" y="51"/>
                      </a:cubicBezTo>
                      <a:cubicBezTo>
                        <a:pt x="226" y="44"/>
                        <a:pt x="207" y="24"/>
                        <a:pt x="207" y="42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228" name="Group 61"/>
              <p:cNvGrpSpPr>
                <a:grpSpLocks/>
              </p:cNvGrpSpPr>
              <p:nvPr/>
            </p:nvGrpSpPr>
            <p:grpSpPr bwMode="auto">
              <a:xfrm>
                <a:off x="1252538" y="3733800"/>
                <a:ext cx="1209675" cy="1333500"/>
                <a:chOff x="622" y="2432"/>
                <a:chExt cx="792" cy="856"/>
              </a:xfrm>
              <a:grpFill/>
            </p:grpSpPr>
            <p:sp>
              <p:nvSpPr>
                <p:cNvPr id="275" name="Freeform 62"/>
                <p:cNvSpPr>
                  <a:spLocks/>
                </p:cNvSpPr>
                <p:nvPr/>
              </p:nvSpPr>
              <p:spPr bwMode="gray">
                <a:xfrm>
                  <a:off x="1006" y="2432"/>
                  <a:ext cx="334" cy="342"/>
                </a:xfrm>
                <a:custGeom>
                  <a:avLst/>
                  <a:gdLst>
                    <a:gd name="T0" fmla="*/ 212 w 334"/>
                    <a:gd name="T1" fmla="*/ 28 h 342"/>
                    <a:gd name="T2" fmla="*/ 194 w 334"/>
                    <a:gd name="T3" fmla="*/ 16 h 342"/>
                    <a:gd name="T4" fmla="*/ 188 w 334"/>
                    <a:gd name="T5" fmla="*/ 12 h 342"/>
                    <a:gd name="T6" fmla="*/ 164 w 334"/>
                    <a:gd name="T7" fmla="*/ 6 h 342"/>
                    <a:gd name="T8" fmla="*/ 152 w 334"/>
                    <a:gd name="T9" fmla="*/ 26 h 342"/>
                    <a:gd name="T10" fmla="*/ 130 w 334"/>
                    <a:gd name="T11" fmla="*/ 30 h 342"/>
                    <a:gd name="T12" fmla="*/ 134 w 334"/>
                    <a:gd name="T13" fmla="*/ 54 h 342"/>
                    <a:gd name="T14" fmla="*/ 116 w 334"/>
                    <a:gd name="T15" fmla="*/ 64 h 342"/>
                    <a:gd name="T16" fmla="*/ 104 w 334"/>
                    <a:gd name="T17" fmla="*/ 80 h 342"/>
                    <a:gd name="T18" fmla="*/ 102 w 334"/>
                    <a:gd name="T19" fmla="*/ 122 h 342"/>
                    <a:gd name="T20" fmla="*/ 100 w 334"/>
                    <a:gd name="T21" fmla="*/ 128 h 342"/>
                    <a:gd name="T22" fmla="*/ 80 w 334"/>
                    <a:gd name="T23" fmla="*/ 124 h 342"/>
                    <a:gd name="T24" fmla="*/ 26 w 334"/>
                    <a:gd name="T25" fmla="*/ 142 h 342"/>
                    <a:gd name="T26" fmla="*/ 42 w 334"/>
                    <a:gd name="T27" fmla="*/ 158 h 342"/>
                    <a:gd name="T28" fmla="*/ 54 w 334"/>
                    <a:gd name="T29" fmla="*/ 166 h 342"/>
                    <a:gd name="T30" fmla="*/ 56 w 334"/>
                    <a:gd name="T31" fmla="*/ 172 h 342"/>
                    <a:gd name="T32" fmla="*/ 62 w 334"/>
                    <a:gd name="T33" fmla="*/ 176 h 342"/>
                    <a:gd name="T34" fmla="*/ 66 w 334"/>
                    <a:gd name="T35" fmla="*/ 188 h 342"/>
                    <a:gd name="T36" fmla="*/ 36 w 334"/>
                    <a:gd name="T37" fmla="*/ 194 h 342"/>
                    <a:gd name="T38" fmla="*/ 14 w 334"/>
                    <a:gd name="T39" fmla="*/ 192 h 342"/>
                    <a:gd name="T40" fmla="*/ 12 w 334"/>
                    <a:gd name="T41" fmla="*/ 204 h 342"/>
                    <a:gd name="T42" fmla="*/ 0 w 334"/>
                    <a:gd name="T43" fmla="*/ 212 h 342"/>
                    <a:gd name="T44" fmla="*/ 40 w 334"/>
                    <a:gd name="T45" fmla="*/ 238 h 342"/>
                    <a:gd name="T46" fmla="*/ 74 w 334"/>
                    <a:gd name="T47" fmla="*/ 236 h 342"/>
                    <a:gd name="T48" fmla="*/ 94 w 334"/>
                    <a:gd name="T49" fmla="*/ 262 h 342"/>
                    <a:gd name="T50" fmla="*/ 96 w 334"/>
                    <a:gd name="T51" fmla="*/ 304 h 342"/>
                    <a:gd name="T52" fmla="*/ 104 w 334"/>
                    <a:gd name="T53" fmla="*/ 338 h 342"/>
                    <a:gd name="T54" fmla="*/ 116 w 334"/>
                    <a:gd name="T55" fmla="*/ 342 h 342"/>
                    <a:gd name="T56" fmla="*/ 144 w 334"/>
                    <a:gd name="T57" fmla="*/ 326 h 342"/>
                    <a:gd name="T58" fmla="*/ 176 w 334"/>
                    <a:gd name="T59" fmla="*/ 282 h 342"/>
                    <a:gd name="T60" fmla="*/ 196 w 334"/>
                    <a:gd name="T61" fmla="*/ 274 h 342"/>
                    <a:gd name="T62" fmla="*/ 208 w 334"/>
                    <a:gd name="T63" fmla="*/ 262 h 342"/>
                    <a:gd name="T64" fmla="*/ 214 w 334"/>
                    <a:gd name="T65" fmla="*/ 256 h 342"/>
                    <a:gd name="T66" fmla="*/ 224 w 334"/>
                    <a:gd name="T67" fmla="*/ 232 h 342"/>
                    <a:gd name="T68" fmla="*/ 236 w 334"/>
                    <a:gd name="T69" fmla="*/ 228 h 342"/>
                    <a:gd name="T70" fmla="*/ 252 w 334"/>
                    <a:gd name="T71" fmla="*/ 244 h 342"/>
                    <a:gd name="T72" fmla="*/ 270 w 334"/>
                    <a:gd name="T73" fmla="*/ 250 h 342"/>
                    <a:gd name="T74" fmla="*/ 288 w 334"/>
                    <a:gd name="T75" fmla="*/ 266 h 342"/>
                    <a:gd name="T76" fmla="*/ 302 w 334"/>
                    <a:gd name="T77" fmla="*/ 252 h 342"/>
                    <a:gd name="T78" fmla="*/ 322 w 334"/>
                    <a:gd name="T79" fmla="*/ 192 h 342"/>
                    <a:gd name="T80" fmla="*/ 334 w 334"/>
                    <a:gd name="T81" fmla="*/ 174 h 342"/>
                    <a:gd name="T82" fmla="*/ 320 w 334"/>
                    <a:gd name="T83" fmla="*/ 160 h 342"/>
                    <a:gd name="T84" fmla="*/ 316 w 334"/>
                    <a:gd name="T85" fmla="*/ 154 h 342"/>
                    <a:gd name="T86" fmla="*/ 310 w 334"/>
                    <a:gd name="T87" fmla="*/ 150 h 342"/>
                    <a:gd name="T88" fmla="*/ 294 w 334"/>
                    <a:gd name="T89" fmla="*/ 124 h 342"/>
                    <a:gd name="T90" fmla="*/ 274 w 334"/>
                    <a:gd name="T91" fmla="*/ 142 h 342"/>
                    <a:gd name="T92" fmla="*/ 240 w 334"/>
                    <a:gd name="T93" fmla="*/ 134 h 342"/>
                    <a:gd name="T94" fmla="*/ 228 w 334"/>
                    <a:gd name="T95" fmla="*/ 130 h 342"/>
                    <a:gd name="T96" fmla="*/ 188 w 334"/>
                    <a:gd name="T97" fmla="*/ 142 h 342"/>
                    <a:gd name="T98" fmla="*/ 178 w 334"/>
                    <a:gd name="T99" fmla="*/ 112 h 342"/>
                    <a:gd name="T100" fmla="*/ 188 w 334"/>
                    <a:gd name="T101" fmla="*/ 74 h 342"/>
                    <a:gd name="T102" fmla="*/ 214 w 334"/>
                    <a:gd name="T103" fmla="*/ 44 h 342"/>
                    <a:gd name="T104" fmla="*/ 212 w 334"/>
                    <a:gd name="T105" fmla="*/ 28 h 342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0" t="0" r="r" b="b"/>
                  <a:pathLst>
                    <a:path w="334" h="342">
                      <a:moveTo>
                        <a:pt x="212" y="28"/>
                      </a:moveTo>
                      <a:cubicBezTo>
                        <a:pt x="206" y="24"/>
                        <a:pt x="200" y="20"/>
                        <a:pt x="194" y="16"/>
                      </a:cubicBezTo>
                      <a:cubicBezTo>
                        <a:pt x="192" y="15"/>
                        <a:pt x="188" y="12"/>
                        <a:pt x="188" y="12"/>
                      </a:cubicBezTo>
                      <a:cubicBezTo>
                        <a:pt x="184" y="0"/>
                        <a:pt x="176" y="4"/>
                        <a:pt x="164" y="6"/>
                      </a:cubicBezTo>
                      <a:cubicBezTo>
                        <a:pt x="154" y="9"/>
                        <a:pt x="155" y="17"/>
                        <a:pt x="152" y="26"/>
                      </a:cubicBezTo>
                      <a:cubicBezTo>
                        <a:pt x="150" y="33"/>
                        <a:pt x="137" y="29"/>
                        <a:pt x="130" y="30"/>
                      </a:cubicBezTo>
                      <a:cubicBezTo>
                        <a:pt x="123" y="40"/>
                        <a:pt x="131" y="44"/>
                        <a:pt x="134" y="54"/>
                      </a:cubicBezTo>
                      <a:cubicBezTo>
                        <a:pt x="128" y="58"/>
                        <a:pt x="122" y="60"/>
                        <a:pt x="116" y="64"/>
                      </a:cubicBezTo>
                      <a:cubicBezTo>
                        <a:pt x="110" y="73"/>
                        <a:pt x="107" y="69"/>
                        <a:pt x="104" y="80"/>
                      </a:cubicBezTo>
                      <a:cubicBezTo>
                        <a:pt x="103" y="94"/>
                        <a:pt x="103" y="108"/>
                        <a:pt x="102" y="122"/>
                      </a:cubicBezTo>
                      <a:cubicBezTo>
                        <a:pt x="102" y="124"/>
                        <a:pt x="102" y="128"/>
                        <a:pt x="100" y="128"/>
                      </a:cubicBezTo>
                      <a:cubicBezTo>
                        <a:pt x="93" y="129"/>
                        <a:pt x="80" y="124"/>
                        <a:pt x="80" y="124"/>
                      </a:cubicBezTo>
                      <a:cubicBezTo>
                        <a:pt x="52" y="127"/>
                        <a:pt x="54" y="139"/>
                        <a:pt x="26" y="142"/>
                      </a:cubicBezTo>
                      <a:cubicBezTo>
                        <a:pt x="21" y="158"/>
                        <a:pt x="32" y="152"/>
                        <a:pt x="42" y="158"/>
                      </a:cubicBezTo>
                      <a:cubicBezTo>
                        <a:pt x="46" y="160"/>
                        <a:pt x="54" y="166"/>
                        <a:pt x="54" y="166"/>
                      </a:cubicBezTo>
                      <a:cubicBezTo>
                        <a:pt x="55" y="168"/>
                        <a:pt x="55" y="170"/>
                        <a:pt x="56" y="172"/>
                      </a:cubicBezTo>
                      <a:cubicBezTo>
                        <a:pt x="58" y="174"/>
                        <a:pt x="61" y="174"/>
                        <a:pt x="62" y="176"/>
                      </a:cubicBezTo>
                      <a:cubicBezTo>
                        <a:pt x="64" y="180"/>
                        <a:pt x="66" y="188"/>
                        <a:pt x="66" y="188"/>
                      </a:cubicBezTo>
                      <a:cubicBezTo>
                        <a:pt x="61" y="202"/>
                        <a:pt x="50" y="195"/>
                        <a:pt x="36" y="194"/>
                      </a:cubicBezTo>
                      <a:cubicBezTo>
                        <a:pt x="27" y="192"/>
                        <a:pt x="22" y="189"/>
                        <a:pt x="14" y="192"/>
                      </a:cubicBezTo>
                      <a:cubicBezTo>
                        <a:pt x="13" y="196"/>
                        <a:pt x="14" y="201"/>
                        <a:pt x="12" y="204"/>
                      </a:cubicBezTo>
                      <a:cubicBezTo>
                        <a:pt x="9" y="208"/>
                        <a:pt x="0" y="212"/>
                        <a:pt x="0" y="212"/>
                      </a:cubicBezTo>
                      <a:cubicBezTo>
                        <a:pt x="3" y="225"/>
                        <a:pt x="27" y="234"/>
                        <a:pt x="40" y="238"/>
                      </a:cubicBezTo>
                      <a:cubicBezTo>
                        <a:pt x="54" y="236"/>
                        <a:pt x="60" y="234"/>
                        <a:pt x="74" y="236"/>
                      </a:cubicBezTo>
                      <a:cubicBezTo>
                        <a:pt x="84" y="243"/>
                        <a:pt x="83" y="255"/>
                        <a:pt x="94" y="262"/>
                      </a:cubicBezTo>
                      <a:cubicBezTo>
                        <a:pt x="101" y="284"/>
                        <a:pt x="98" y="270"/>
                        <a:pt x="96" y="304"/>
                      </a:cubicBezTo>
                      <a:cubicBezTo>
                        <a:pt x="96" y="307"/>
                        <a:pt x="100" y="337"/>
                        <a:pt x="104" y="338"/>
                      </a:cubicBezTo>
                      <a:cubicBezTo>
                        <a:pt x="108" y="339"/>
                        <a:pt x="116" y="342"/>
                        <a:pt x="116" y="342"/>
                      </a:cubicBezTo>
                      <a:cubicBezTo>
                        <a:pt x="129" y="339"/>
                        <a:pt x="133" y="333"/>
                        <a:pt x="144" y="326"/>
                      </a:cubicBezTo>
                      <a:cubicBezTo>
                        <a:pt x="158" y="305"/>
                        <a:pt x="145" y="292"/>
                        <a:pt x="176" y="282"/>
                      </a:cubicBezTo>
                      <a:cubicBezTo>
                        <a:pt x="196" y="289"/>
                        <a:pt x="182" y="288"/>
                        <a:pt x="196" y="274"/>
                      </a:cubicBezTo>
                      <a:cubicBezTo>
                        <a:pt x="200" y="270"/>
                        <a:pt x="204" y="266"/>
                        <a:pt x="208" y="262"/>
                      </a:cubicBezTo>
                      <a:cubicBezTo>
                        <a:pt x="210" y="260"/>
                        <a:pt x="214" y="256"/>
                        <a:pt x="214" y="256"/>
                      </a:cubicBezTo>
                      <a:cubicBezTo>
                        <a:pt x="215" y="252"/>
                        <a:pt x="218" y="235"/>
                        <a:pt x="224" y="232"/>
                      </a:cubicBezTo>
                      <a:cubicBezTo>
                        <a:pt x="228" y="230"/>
                        <a:pt x="236" y="228"/>
                        <a:pt x="236" y="228"/>
                      </a:cubicBezTo>
                      <a:cubicBezTo>
                        <a:pt x="243" y="232"/>
                        <a:pt x="245" y="240"/>
                        <a:pt x="252" y="244"/>
                      </a:cubicBezTo>
                      <a:cubicBezTo>
                        <a:pt x="258" y="247"/>
                        <a:pt x="270" y="250"/>
                        <a:pt x="270" y="250"/>
                      </a:cubicBezTo>
                      <a:cubicBezTo>
                        <a:pt x="275" y="265"/>
                        <a:pt x="273" y="262"/>
                        <a:pt x="288" y="266"/>
                      </a:cubicBezTo>
                      <a:cubicBezTo>
                        <a:pt x="294" y="264"/>
                        <a:pt x="302" y="252"/>
                        <a:pt x="302" y="252"/>
                      </a:cubicBezTo>
                      <a:cubicBezTo>
                        <a:pt x="298" y="216"/>
                        <a:pt x="295" y="210"/>
                        <a:pt x="322" y="192"/>
                      </a:cubicBezTo>
                      <a:cubicBezTo>
                        <a:pt x="325" y="184"/>
                        <a:pt x="330" y="181"/>
                        <a:pt x="334" y="174"/>
                      </a:cubicBezTo>
                      <a:cubicBezTo>
                        <a:pt x="331" y="166"/>
                        <a:pt x="328" y="163"/>
                        <a:pt x="320" y="160"/>
                      </a:cubicBezTo>
                      <a:cubicBezTo>
                        <a:pt x="319" y="158"/>
                        <a:pt x="318" y="156"/>
                        <a:pt x="316" y="154"/>
                      </a:cubicBezTo>
                      <a:cubicBezTo>
                        <a:pt x="314" y="152"/>
                        <a:pt x="312" y="152"/>
                        <a:pt x="310" y="150"/>
                      </a:cubicBezTo>
                      <a:cubicBezTo>
                        <a:pt x="303" y="141"/>
                        <a:pt x="306" y="128"/>
                        <a:pt x="294" y="124"/>
                      </a:cubicBezTo>
                      <a:cubicBezTo>
                        <a:pt x="289" y="131"/>
                        <a:pt x="282" y="139"/>
                        <a:pt x="274" y="142"/>
                      </a:cubicBezTo>
                      <a:cubicBezTo>
                        <a:pt x="266" y="154"/>
                        <a:pt x="250" y="139"/>
                        <a:pt x="240" y="134"/>
                      </a:cubicBezTo>
                      <a:cubicBezTo>
                        <a:pt x="236" y="132"/>
                        <a:pt x="228" y="130"/>
                        <a:pt x="228" y="130"/>
                      </a:cubicBezTo>
                      <a:cubicBezTo>
                        <a:pt x="189" y="133"/>
                        <a:pt x="211" y="134"/>
                        <a:pt x="188" y="142"/>
                      </a:cubicBezTo>
                      <a:cubicBezTo>
                        <a:pt x="182" y="132"/>
                        <a:pt x="180" y="123"/>
                        <a:pt x="178" y="112"/>
                      </a:cubicBezTo>
                      <a:cubicBezTo>
                        <a:pt x="180" y="99"/>
                        <a:pt x="184" y="87"/>
                        <a:pt x="188" y="74"/>
                      </a:cubicBezTo>
                      <a:cubicBezTo>
                        <a:pt x="190" y="68"/>
                        <a:pt x="215" y="53"/>
                        <a:pt x="214" y="44"/>
                      </a:cubicBezTo>
                      <a:cubicBezTo>
                        <a:pt x="213" y="39"/>
                        <a:pt x="213" y="33"/>
                        <a:pt x="212" y="28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76" name="Freeform 63"/>
                <p:cNvSpPr>
                  <a:spLocks/>
                </p:cNvSpPr>
                <p:nvPr/>
              </p:nvSpPr>
              <p:spPr bwMode="gray">
                <a:xfrm>
                  <a:off x="1294" y="2521"/>
                  <a:ext cx="120" cy="191"/>
                </a:xfrm>
                <a:custGeom>
                  <a:avLst/>
                  <a:gdLst>
                    <a:gd name="T0" fmla="*/ 62 w 120"/>
                    <a:gd name="T1" fmla="*/ 5 h 191"/>
                    <a:gd name="T2" fmla="*/ 18 w 120"/>
                    <a:gd name="T3" fmla="*/ 5 h 191"/>
                    <a:gd name="T4" fmla="*/ 6 w 120"/>
                    <a:gd name="T5" fmla="*/ 9 h 191"/>
                    <a:gd name="T6" fmla="*/ 6 w 120"/>
                    <a:gd name="T7" fmla="*/ 39 h 191"/>
                    <a:gd name="T8" fmla="*/ 18 w 120"/>
                    <a:gd name="T9" fmla="*/ 47 h 191"/>
                    <a:gd name="T10" fmla="*/ 34 w 120"/>
                    <a:gd name="T11" fmla="*/ 69 h 191"/>
                    <a:gd name="T12" fmla="*/ 42 w 120"/>
                    <a:gd name="T13" fmla="*/ 87 h 191"/>
                    <a:gd name="T14" fmla="*/ 20 w 120"/>
                    <a:gd name="T15" fmla="*/ 119 h 191"/>
                    <a:gd name="T16" fmla="*/ 8 w 120"/>
                    <a:gd name="T17" fmla="*/ 137 h 191"/>
                    <a:gd name="T18" fmla="*/ 18 w 120"/>
                    <a:gd name="T19" fmla="*/ 167 h 191"/>
                    <a:gd name="T20" fmla="*/ 34 w 120"/>
                    <a:gd name="T21" fmla="*/ 185 h 191"/>
                    <a:gd name="T22" fmla="*/ 68 w 120"/>
                    <a:gd name="T23" fmla="*/ 183 h 191"/>
                    <a:gd name="T24" fmla="*/ 94 w 120"/>
                    <a:gd name="T25" fmla="*/ 191 h 191"/>
                    <a:gd name="T26" fmla="*/ 106 w 120"/>
                    <a:gd name="T27" fmla="*/ 189 h 191"/>
                    <a:gd name="T28" fmla="*/ 94 w 120"/>
                    <a:gd name="T29" fmla="*/ 159 h 191"/>
                    <a:gd name="T30" fmla="*/ 106 w 120"/>
                    <a:gd name="T31" fmla="*/ 129 h 191"/>
                    <a:gd name="T32" fmla="*/ 110 w 120"/>
                    <a:gd name="T33" fmla="*/ 117 h 191"/>
                    <a:gd name="T34" fmla="*/ 112 w 120"/>
                    <a:gd name="T35" fmla="*/ 97 h 191"/>
                    <a:gd name="T36" fmla="*/ 120 w 120"/>
                    <a:gd name="T37" fmla="*/ 85 h 191"/>
                    <a:gd name="T38" fmla="*/ 78 w 120"/>
                    <a:gd name="T39" fmla="*/ 31 h 191"/>
                    <a:gd name="T40" fmla="*/ 62 w 120"/>
                    <a:gd name="T41" fmla="*/ 5 h 191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0" t="0" r="r" b="b"/>
                  <a:pathLst>
                    <a:path w="120" h="191">
                      <a:moveTo>
                        <a:pt x="62" y="5"/>
                      </a:moveTo>
                      <a:cubicBezTo>
                        <a:pt x="44" y="0"/>
                        <a:pt x="50" y="1"/>
                        <a:pt x="18" y="5"/>
                      </a:cubicBezTo>
                      <a:cubicBezTo>
                        <a:pt x="14" y="6"/>
                        <a:pt x="6" y="9"/>
                        <a:pt x="6" y="9"/>
                      </a:cubicBezTo>
                      <a:cubicBezTo>
                        <a:pt x="3" y="19"/>
                        <a:pt x="0" y="25"/>
                        <a:pt x="6" y="39"/>
                      </a:cubicBezTo>
                      <a:cubicBezTo>
                        <a:pt x="8" y="43"/>
                        <a:pt x="18" y="47"/>
                        <a:pt x="18" y="47"/>
                      </a:cubicBezTo>
                      <a:cubicBezTo>
                        <a:pt x="21" y="57"/>
                        <a:pt x="26" y="63"/>
                        <a:pt x="34" y="69"/>
                      </a:cubicBezTo>
                      <a:cubicBezTo>
                        <a:pt x="38" y="74"/>
                        <a:pt x="42" y="87"/>
                        <a:pt x="42" y="87"/>
                      </a:cubicBezTo>
                      <a:cubicBezTo>
                        <a:pt x="40" y="100"/>
                        <a:pt x="32" y="111"/>
                        <a:pt x="20" y="119"/>
                      </a:cubicBezTo>
                      <a:cubicBezTo>
                        <a:pt x="17" y="127"/>
                        <a:pt x="12" y="130"/>
                        <a:pt x="8" y="137"/>
                      </a:cubicBezTo>
                      <a:cubicBezTo>
                        <a:pt x="10" y="148"/>
                        <a:pt x="8" y="160"/>
                        <a:pt x="18" y="167"/>
                      </a:cubicBezTo>
                      <a:cubicBezTo>
                        <a:pt x="20" y="174"/>
                        <a:pt x="27" y="183"/>
                        <a:pt x="34" y="185"/>
                      </a:cubicBezTo>
                      <a:cubicBezTo>
                        <a:pt x="59" y="180"/>
                        <a:pt x="47" y="180"/>
                        <a:pt x="68" y="183"/>
                      </a:cubicBezTo>
                      <a:cubicBezTo>
                        <a:pt x="77" y="186"/>
                        <a:pt x="85" y="189"/>
                        <a:pt x="94" y="191"/>
                      </a:cubicBezTo>
                      <a:cubicBezTo>
                        <a:pt x="98" y="190"/>
                        <a:pt x="102" y="191"/>
                        <a:pt x="106" y="189"/>
                      </a:cubicBezTo>
                      <a:cubicBezTo>
                        <a:pt x="114" y="185"/>
                        <a:pt x="96" y="166"/>
                        <a:pt x="94" y="159"/>
                      </a:cubicBezTo>
                      <a:cubicBezTo>
                        <a:pt x="96" y="146"/>
                        <a:pt x="101" y="140"/>
                        <a:pt x="106" y="129"/>
                      </a:cubicBezTo>
                      <a:cubicBezTo>
                        <a:pt x="108" y="125"/>
                        <a:pt x="110" y="117"/>
                        <a:pt x="110" y="117"/>
                      </a:cubicBezTo>
                      <a:cubicBezTo>
                        <a:pt x="111" y="110"/>
                        <a:pt x="110" y="103"/>
                        <a:pt x="112" y="97"/>
                      </a:cubicBezTo>
                      <a:cubicBezTo>
                        <a:pt x="113" y="92"/>
                        <a:pt x="120" y="85"/>
                        <a:pt x="120" y="85"/>
                      </a:cubicBezTo>
                      <a:cubicBezTo>
                        <a:pt x="116" y="44"/>
                        <a:pt x="117" y="41"/>
                        <a:pt x="78" y="31"/>
                      </a:cubicBezTo>
                      <a:cubicBezTo>
                        <a:pt x="72" y="22"/>
                        <a:pt x="62" y="18"/>
                        <a:pt x="62" y="5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77" name="Freeform 64"/>
                <p:cNvSpPr>
                  <a:spLocks/>
                </p:cNvSpPr>
                <p:nvPr/>
              </p:nvSpPr>
              <p:spPr bwMode="gray">
                <a:xfrm>
                  <a:off x="1130" y="2657"/>
                  <a:ext cx="164" cy="195"/>
                </a:xfrm>
                <a:custGeom>
                  <a:avLst/>
                  <a:gdLst>
                    <a:gd name="T0" fmla="*/ 156 w 164"/>
                    <a:gd name="T1" fmla="*/ 85 h 195"/>
                    <a:gd name="T2" fmla="*/ 160 w 164"/>
                    <a:gd name="T3" fmla="*/ 45 h 195"/>
                    <a:gd name="T4" fmla="*/ 130 w 164"/>
                    <a:gd name="T5" fmla="*/ 19 h 195"/>
                    <a:gd name="T6" fmla="*/ 96 w 164"/>
                    <a:gd name="T7" fmla="*/ 9 h 195"/>
                    <a:gd name="T8" fmla="*/ 82 w 164"/>
                    <a:gd name="T9" fmla="*/ 31 h 195"/>
                    <a:gd name="T10" fmla="*/ 64 w 164"/>
                    <a:gd name="T11" fmla="*/ 45 h 195"/>
                    <a:gd name="T12" fmla="*/ 54 w 164"/>
                    <a:gd name="T13" fmla="*/ 61 h 195"/>
                    <a:gd name="T14" fmla="*/ 32 w 164"/>
                    <a:gd name="T15" fmla="*/ 67 h 195"/>
                    <a:gd name="T16" fmla="*/ 20 w 164"/>
                    <a:gd name="T17" fmla="*/ 85 h 195"/>
                    <a:gd name="T18" fmla="*/ 0 w 164"/>
                    <a:gd name="T19" fmla="*/ 119 h 195"/>
                    <a:gd name="T20" fmla="*/ 46 w 164"/>
                    <a:gd name="T21" fmla="*/ 131 h 195"/>
                    <a:gd name="T22" fmla="*/ 60 w 164"/>
                    <a:gd name="T23" fmla="*/ 145 h 195"/>
                    <a:gd name="T24" fmla="*/ 72 w 164"/>
                    <a:gd name="T25" fmla="*/ 151 h 195"/>
                    <a:gd name="T26" fmla="*/ 60 w 164"/>
                    <a:gd name="T27" fmla="*/ 181 h 195"/>
                    <a:gd name="T28" fmla="*/ 86 w 164"/>
                    <a:gd name="T29" fmla="*/ 189 h 195"/>
                    <a:gd name="T30" fmla="*/ 106 w 164"/>
                    <a:gd name="T31" fmla="*/ 165 h 195"/>
                    <a:gd name="T32" fmla="*/ 104 w 164"/>
                    <a:gd name="T33" fmla="*/ 147 h 195"/>
                    <a:gd name="T34" fmla="*/ 122 w 164"/>
                    <a:gd name="T35" fmla="*/ 139 h 195"/>
                    <a:gd name="T36" fmla="*/ 128 w 164"/>
                    <a:gd name="T37" fmla="*/ 137 h 195"/>
                    <a:gd name="T38" fmla="*/ 134 w 164"/>
                    <a:gd name="T39" fmla="*/ 105 h 195"/>
                    <a:gd name="T40" fmla="*/ 158 w 164"/>
                    <a:gd name="T41" fmla="*/ 93 h 195"/>
                    <a:gd name="T42" fmla="*/ 156 w 164"/>
                    <a:gd name="T43" fmla="*/ 85 h 195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0" t="0" r="r" b="b"/>
                  <a:pathLst>
                    <a:path w="164" h="195">
                      <a:moveTo>
                        <a:pt x="156" y="85"/>
                      </a:moveTo>
                      <a:cubicBezTo>
                        <a:pt x="153" y="62"/>
                        <a:pt x="153" y="65"/>
                        <a:pt x="160" y="45"/>
                      </a:cubicBezTo>
                      <a:cubicBezTo>
                        <a:pt x="147" y="36"/>
                        <a:pt x="148" y="25"/>
                        <a:pt x="130" y="19"/>
                      </a:cubicBezTo>
                      <a:cubicBezTo>
                        <a:pt x="117" y="0"/>
                        <a:pt x="127" y="7"/>
                        <a:pt x="96" y="9"/>
                      </a:cubicBezTo>
                      <a:cubicBezTo>
                        <a:pt x="87" y="15"/>
                        <a:pt x="89" y="24"/>
                        <a:pt x="82" y="31"/>
                      </a:cubicBezTo>
                      <a:cubicBezTo>
                        <a:pt x="77" y="36"/>
                        <a:pt x="69" y="40"/>
                        <a:pt x="64" y="45"/>
                      </a:cubicBezTo>
                      <a:cubicBezTo>
                        <a:pt x="59" y="59"/>
                        <a:pt x="64" y="55"/>
                        <a:pt x="54" y="61"/>
                      </a:cubicBezTo>
                      <a:cubicBezTo>
                        <a:pt x="44" y="58"/>
                        <a:pt x="39" y="60"/>
                        <a:pt x="32" y="67"/>
                      </a:cubicBezTo>
                      <a:cubicBezTo>
                        <a:pt x="29" y="75"/>
                        <a:pt x="26" y="79"/>
                        <a:pt x="20" y="85"/>
                      </a:cubicBezTo>
                      <a:cubicBezTo>
                        <a:pt x="16" y="97"/>
                        <a:pt x="4" y="106"/>
                        <a:pt x="0" y="119"/>
                      </a:cubicBezTo>
                      <a:cubicBezTo>
                        <a:pt x="9" y="133"/>
                        <a:pt x="32" y="130"/>
                        <a:pt x="46" y="131"/>
                      </a:cubicBezTo>
                      <a:cubicBezTo>
                        <a:pt x="53" y="133"/>
                        <a:pt x="55" y="143"/>
                        <a:pt x="60" y="145"/>
                      </a:cubicBezTo>
                      <a:cubicBezTo>
                        <a:pt x="68" y="148"/>
                        <a:pt x="64" y="146"/>
                        <a:pt x="72" y="151"/>
                      </a:cubicBezTo>
                      <a:cubicBezTo>
                        <a:pt x="68" y="162"/>
                        <a:pt x="63" y="171"/>
                        <a:pt x="60" y="181"/>
                      </a:cubicBezTo>
                      <a:cubicBezTo>
                        <a:pt x="65" y="195"/>
                        <a:pt x="72" y="191"/>
                        <a:pt x="86" y="189"/>
                      </a:cubicBezTo>
                      <a:cubicBezTo>
                        <a:pt x="97" y="182"/>
                        <a:pt x="94" y="169"/>
                        <a:pt x="106" y="165"/>
                      </a:cubicBezTo>
                      <a:cubicBezTo>
                        <a:pt x="108" y="159"/>
                        <a:pt x="104" y="147"/>
                        <a:pt x="104" y="147"/>
                      </a:cubicBezTo>
                      <a:cubicBezTo>
                        <a:pt x="114" y="141"/>
                        <a:pt x="108" y="144"/>
                        <a:pt x="122" y="139"/>
                      </a:cubicBezTo>
                      <a:cubicBezTo>
                        <a:pt x="124" y="138"/>
                        <a:pt x="128" y="137"/>
                        <a:pt x="128" y="137"/>
                      </a:cubicBezTo>
                      <a:cubicBezTo>
                        <a:pt x="131" y="127"/>
                        <a:pt x="127" y="113"/>
                        <a:pt x="134" y="105"/>
                      </a:cubicBezTo>
                      <a:cubicBezTo>
                        <a:pt x="139" y="98"/>
                        <a:pt x="151" y="98"/>
                        <a:pt x="158" y="93"/>
                      </a:cubicBezTo>
                      <a:cubicBezTo>
                        <a:pt x="163" y="85"/>
                        <a:pt x="164" y="88"/>
                        <a:pt x="156" y="85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78" name="Freeform 65"/>
                <p:cNvSpPr>
                  <a:spLocks/>
                </p:cNvSpPr>
                <p:nvPr/>
              </p:nvSpPr>
              <p:spPr bwMode="gray">
                <a:xfrm>
                  <a:off x="1120" y="2818"/>
                  <a:ext cx="280" cy="356"/>
                </a:xfrm>
                <a:custGeom>
                  <a:avLst/>
                  <a:gdLst>
                    <a:gd name="T0" fmla="*/ 154 w 280"/>
                    <a:gd name="T1" fmla="*/ 30 h 356"/>
                    <a:gd name="T2" fmla="*/ 122 w 280"/>
                    <a:gd name="T3" fmla="*/ 8 h 356"/>
                    <a:gd name="T4" fmla="*/ 90 w 280"/>
                    <a:gd name="T5" fmla="*/ 28 h 356"/>
                    <a:gd name="T6" fmla="*/ 72 w 280"/>
                    <a:gd name="T7" fmla="*/ 30 h 356"/>
                    <a:gd name="T8" fmla="*/ 32 w 280"/>
                    <a:gd name="T9" fmla="*/ 56 h 356"/>
                    <a:gd name="T10" fmla="*/ 28 w 280"/>
                    <a:gd name="T11" fmla="*/ 74 h 356"/>
                    <a:gd name="T12" fmla="*/ 8 w 280"/>
                    <a:gd name="T13" fmla="*/ 112 h 356"/>
                    <a:gd name="T14" fmla="*/ 2 w 280"/>
                    <a:gd name="T15" fmla="*/ 130 h 356"/>
                    <a:gd name="T16" fmla="*/ 0 w 280"/>
                    <a:gd name="T17" fmla="*/ 136 h 356"/>
                    <a:gd name="T18" fmla="*/ 4 w 280"/>
                    <a:gd name="T19" fmla="*/ 162 h 356"/>
                    <a:gd name="T20" fmla="*/ 36 w 280"/>
                    <a:gd name="T21" fmla="*/ 262 h 356"/>
                    <a:gd name="T22" fmla="*/ 56 w 280"/>
                    <a:gd name="T23" fmla="*/ 270 h 356"/>
                    <a:gd name="T24" fmla="*/ 40 w 280"/>
                    <a:gd name="T25" fmla="*/ 292 h 356"/>
                    <a:gd name="T26" fmla="*/ 42 w 280"/>
                    <a:gd name="T27" fmla="*/ 286 h 356"/>
                    <a:gd name="T28" fmla="*/ 44 w 280"/>
                    <a:gd name="T29" fmla="*/ 296 h 356"/>
                    <a:gd name="T30" fmla="*/ 58 w 280"/>
                    <a:gd name="T31" fmla="*/ 314 h 356"/>
                    <a:gd name="T32" fmla="*/ 72 w 280"/>
                    <a:gd name="T33" fmla="*/ 342 h 356"/>
                    <a:gd name="T34" fmla="*/ 92 w 280"/>
                    <a:gd name="T35" fmla="*/ 336 h 356"/>
                    <a:gd name="T36" fmla="*/ 120 w 280"/>
                    <a:gd name="T37" fmla="*/ 356 h 356"/>
                    <a:gd name="T38" fmla="*/ 138 w 280"/>
                    <a:gd name="T39" fmla="*/ 340 h 356"/>
                    <a:gd name="T40" fmla="*/ 156 w 280"/>
                    <a:gd name="T41" fmla="*/ 332 h 356"/>
                    <a:gd name="T42" fmla="*/ 178 w 280"/>
                    <a:gd name="T43" fmla="*/ 294 h 356"/>
                    <a:gd name="T44" fmla="*/ 196 w 280"/>
                    <a:gd name="T45" fmla="*/ 258 h 356"/>
                    <a:gd name="T46" fmla="*/ 214 w 280"/>
                    <a:gd name="T47" fmla="*/ 242 h 356"/>
                    <a:gd name="T48" fmla="*/ 226 w 280"/>
                    <a:gd name="T49" fmla="*/ 238 h 356"/>
                    <a:gd name="T50" fmla="*/ 208 w 280"/>
                    <a:gd name="T51" fmla="*/ 200 h 356"/>
                    <a:gd name="T52" fmla="*/ 190 w 280"/>
                    <a:gd name="T53" fmla="*/ 190 h 356"/>
                    <a:gd name="T54" fmla="*/ 174 w 280"/>
                    <a:gd name="T55" fmla="*/ 174 h 356"/>
                    <a:gd name="T56" fmla="*/ 198 w 280"/>
                    <a:gd name="T57" fmla="*/ 132 h 356"/>
                    <a:gd name="T58" fmla="*/ 224 w 280"/>
                    <a:gd name="T59" fmla="*/ 152 h 356"/>
                    <a:gd name="T60" fmla="*/ 236 w 280"/>
                    <a:gd name="T61" fmla="*/ 162 h 356"/>
                    <a:gd name="T62" fmla="*/ 248 w 280"/>
                    <a:gd name="T63" fmla="*/ 166 h 356"/>
                    <a:gd name="T64" fmla="*/ 274 w 280"/>
                    <a:gd name="T65" fmla="*/ 132 h 356"/>
                    <a:gd name="T66" fmla="*/ 250 w 280"/>
                    <a:gd name="T67" fmla="*/ 102 h 356"/>
                    <a:gd name="T68" fmla="*/ 238 w 280"/>
                    <a:gd name="T69" fmla="*/ 94 h 356"/>
                    <a:gd name="T70" fmla="*/ 224 w 280"/>
                    <a:gd name="T71" fmla="*/ 72 h 356"/>
                    <a:gd name="T72" fmla="*/ 194 w 280"/>
                    <a:gd name="T73" fmla="*/ 62 h 356"/>
                    <a:gd name="T74" fmla="*/ 186 w 280"/>
                    <a:gd name="T75" fmla="*/ 50 h 356"/>
                    <a:gd name="T76" fmla="*/ 174 w 280"/>
                    <a:gd name="T77" fmla="*/ 46 h 356"/>
                    <a:gd name="T78" fmla="*/ 154 w 280"/>
                    <a:gd name="T79" fmla="*/ 30 h 35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0" t="0" r="r" b="b"/>
                  <a:pathLst>
                    <a:path w="280" h="356">
                      <a:moveTo>
                        <a:pt x="154" y="30"/>
                      </a:moveTo>
                      <a:cubicBezTo>
                        <a:pt x="141" y="22"/>
                        <a:pt x="137" y="12"/>
                        <a:pt x="122" y="8"/>
                      </a:cubicBezTo>
                      <a:cubicBezTo>
                        <a:pt x="110" y="0"/>
                        <a:pt x="106" y="23"/>
                        <a:pt x="90" y="28"/>
                      </a:cubicBezTo>
                      <a:cubicBezTo>
                        <a:pt x="81" y="25"/>
                        <a:pt x="78" y="21"/>
                        <a:pt x="72" y="30"/>
                      </a:cubicBezTo>
                      <a:cubicBezTo>
                        <a:pt x="99" y="57"/>
                        <a:pt x="46" y="55"/>
                        <a:pt x="32" y="56"/>
                      </a:cubicBezTo>
                      <a:cubicBezTo>
                        <a:pt x="27" y="63"/>
                        <a:pt x="25" y="66"/>
                        <a:pt x="28" y="74"/>
                      </a:cubicBezTo>
                      <a:cubicBezTo>
                        <a:pt x="26" y="90"/>
                        <a:pt x="22" y="103"/>
                        <a:pt x="8" y="112"/>
                      </a:cubicBezTo>
                      <a:cubicBezTo>
                        <a:pt x="6" y="118"/>
                        <a:pt x="4" y="124"/>
                        <a:pt x="2" y="130"/>
                      </a:cubicBezTo>
                      <a:cubicBezTo>
                        <a:pt x="1" y="132"/>
                        <a:pt x="0" y="136"/>
                        <a:pt x="0" y="136"/>
                      </a:cubicBezTo>
                      <a:cubicBezTo>
                        <a:pt x="6" y="145"/>
                        <a:pt x="7" y="152"/>
                        <a:pt x="4" y="162"/>
                      </a:cubicBezTo>
                      <a:cubicBezTo>
                        <a:pt x="9" y="198"/>
                        <a:pt x="25" y="228"/>
                        <a:pt x="36" y="262"/>
                      </a:cubicBezTo>
                      <a:cubicBezTo>
                        <a:pt x="38" y="267"/>
                        <a:pt x="52" y="269"/>
                        <a:pt x="56" y="270"/>
                      </a:cubicBezTo>
                      <a:cubicBezTo>
                        <a:pt x="60" y="282"/>
                        <a:pt x="49" y="286"/>
                        <a:pt x="40" y="292"/>
                      </a:cubicBezTo>
                      <a:cubicBezTo>
                        <a:pt x="41" y="290"/>
                        <a:pt x="41" y="285"/>
                        <a:pt x="42" y="286"/>
                      </a:cubicBezTo>
                      <a:cubicBezTo>
                        <a:pt x="44" y="288"/>
                        <a:pt x="43" y="293"/>
                        <a:pt x="44" y="296"/>
                      </a:cubicBezTo>
                      <a:cubicBezTo>
                        <a:pt x="47" y="303"/>
                        <a:pt x="55" y="307"/>
                        <a:pt x="58" y="314"/>
                      </a:cubicBezTo>
                      <a:cubicBezTo>
                        <a:pt x="63" y="325"/>
                        <a:pt x="59" y="338"/>
                        <a:pt x="72" y="342"/>
                      </a:cubicBezTo>
                      <a:cubicBezTo>
                        <a:pt x="80" y="338"/>
                        <a:pt x="83" y="333"/>
                        <a:pt x="92" y="336"/>
                      </a:cubicBezTo>
                      <a:cubicBezTo>
                        <a:pt x="96" y="348"/>
                        <a:pt x="110" y="349"/>
                        <a:pt x="120" y="356"/>
                      </a:cubicBezTo>
                      <a:cubicBezTo>
                        <a:pt x="131" y="349"/>
                        <a:pt x="124" y="354"/>
                        <a:pt x="138" y="340"/>
                      </a:cubicBezTo>
                      <a:cubicBezTo>
                        <a:pt x="143" y="335"/>
                        <a:pt x="151" y="336"/>
                        <a:pt x="156" y="332"/>
                      </a:cubicBezTo>
                      <a:cubicBezTo>
                        <a:pt x="160" y="316"/>
                        <a:pt x="169" y="308"/>
                        <a:pt x="178" y="294"/>
                      </a:cubicBezTo>
                      <a:cubicBezTo>
                        <a:pt x="185" y="284"/>
                        <a:pt x="188" y="268"/>
                        <a:pt x="196" y="258"/>
                      </a:cubicBezTo>
                      <a:cubicBezTo>
                        <a:pt x="198" y="255"/>
                        <a:pt x="208" y="245"/>
                        <a:pt x="214" y="242"/>
                      </a:cubicBezTo>
                      <a:cubicBezTo>
                        <a:pt x="218" y="240"/>
                        <a:pt x="226" y="238"/>
                        <a:pt x="226" y="238"/>
                      </a:cubicBezTo>
                      <a:cubicBezTo>
                        <a:pt x="234" y="221"/>
                        <a:pt x="225" y="204"/>
                        <a:pt x="208" y="200"/>
                      </a:cubicBezTo>
                      <a:cubicBezTo>
                        <a:pt x="202" y="196"/>
                        <a:pt x="195" y="195"/>
                        <a:pt x="190" y="190"/>
                      </a:cubicBezTo>
                      <a:cubicBezTo>
                        <a:pt x="184" y="185"/>
                        <a:pt x="181" y="179"/>
                        <a:pt x="174" y="174"/>
                      </a:cubicBezTo>
                      <a:cubicBezTo>
                        <a:pt x="176" y="150"/>
                        <a:pt x="175" y="140"/>
                        <a:pt x="198" y="132"/>
                      </a:cubicBezTo>
                      <a:cubicBezTo>
                        <a:pt x="206" y="144"/>
                        <a:pt x="211" y="149"/>
                        <a:pt x="224" y="152"/>
                      </a:cubicBezTo>
                      <a:cubicBezTo>
                        <a:pt x="228" y="155"/>
                        <a:pt x="231" y="159"/>
                        <a:pt x="236" y="162"/>
                      </a:cubicBezTo>
                      <a:cubicBezTo>
                        <a:pt x="240" y="164"/>
                        <a:pt x="248" y="166"/>
                        <a:pt x="248" y="166"/>
                      </a:cubicBezTo>
                      <a:cubicBezTo>
                        <a:pt x="267" y="161"/>
                        <a:pt x="262" y="144"/>
                        <a:pt x="274" y="132"/>
                      </a:cubicBezTo>
                      <a:cubicBezTo>
                        <a:pt x="280" y="113"/>
                        <a:pt x="265" y="107"/>
                        <a:pt x="250" y="102"/>
                      </a:cubicBezTo>
                      <a:cubicBezTo>
                        <a:pt x="245" y="100"/>
                        <a:pt x="238" y="94"/>
                        <a:pt x="238" y="94"/>
                      </a:cubicBezTo>
                      <a:cubicBezTo>
                        <a:pt x="235" y="85"/>
                        <a:pt x="231" y="77"/>
                        <a:pt x="224" y="72"/>
                      </a:cubicBezTo>
                      <a:cubicBezTo>
                        <a:pt x="211" y="76"/>
                        <a:pt x="203" y="71"/>
                        <a:pt x="194" y="62"/>
                      </a:cubicBezTo>
                      <a:cubicBezTo>
                        <a:pt x="192" y="56"/>
                        <a:pt x="192" y="53"/>
                        <a:pt x="186" y="50"/>
                      </a:cubicBezTo>
                      <a:cubicBezTo>
                        <a:pt x="182" y="48"/>
                        <a:pt x="174" y="46"/>
                        <a:pt x="174" y="46"/>
                      </a:cubicBezTo>
                      <a:cubicBezTo>
                        <a:pt x="171" y="42"/>
                        <a:pt x="148" y="11"/>
                        <a:pt x="154" y="30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79" name="Freeform 66"/>
                <p:cNvSpPr>
                  <a:spLocks/>
                </p:cNvSpPr>
                <p:nvPr/>
              </p:nvSpPr>
              <p:spPr bwMode="gray">
                <a:xfrm>
                  <a:off x="924" y="2732"/>
                  <a:ext cx="283" cy="218"/>
                </a:xfrm>
                <a:custGeom>
                  <a:avLst/>
                  <a:gdLst>
                    <a:gd name="T0" fmla="*/ 128 w 283"/>
                    <a:gd name="T1" fmla="*/ 4 h 218"/>
                    <a:gd name="T2" fmla="*/ 178 w 283"/>
                    <a:gd name="T3" fmla="*/ 16 h 218"/>
                    <a:gd name="T4" fmla="*/ 190 w 283"/>
                    <a:gd name="T5" fmla="*/ 32 h 218"/>
                    <a:gd name="T6" fmla="*/ 202 w 283"/>
                    <a:gd name="T7" fmla="*/ 36 h 218"/>
                    <a:gd name="T8" fmla="*/ 232 w 283"/>
                    <a:gd name="T9" fmla="*/ 50 h 218"/>
                    <a:gd name="T10" fmla="*/ 258 w 283"/>
                    <a:gd name="T11" fmla="*/ 52 h 218"/>
                    <a:gd name="T12" fmla="*/ 264 w 283"/>
                    <a:gd name="T13" fmla="*/ 64 h 218"/>
                    <a:gd name="T14" fmla="*/ 276 w 283"/>
                    <a:gd name="T15" fmla="*/ 68 h 218"/>
                    <a:gd name="T16" fmla="*/ 272 w 283"/>
                    <a:gd name="T17" fmla="*/ 90 h 218"/>
                    <a:gd name="T18" fmla="*/ 276 w 283"/>
                    <a:gd name="T19" fmla="*/ 114 h 218"/>
                    <a:gd name="T20" fmla="*/ 280 w 283"/>
                    <a:gd name="T21" fmla="*/ 126 h 218"/>
                    <a:gd name="T22" fmla="*/ 236 w 283"/>
                    <a:gd name="T23" fmla="*/ 140 h 218"/>
                    <a:gd name="T24" fmla="*/ 196 w 283"/>
                    <a:gd name="T25" fmla="*/ 218 h 218"/>
                    <a:gd name="T26" fmla="*/ 184 w 283"/>
                    <a:gd name="T27" fmla="*/ 202 h 218"/>
                    <a:gd name="T28" fmla="*/ 168 w 283"/>
                    <a:gd name="T29" fmla="*/ 180 h 218"/>
                    <a:gd name="T30" fmla="*/ 142 w 283"/>
                    <a:gd name="T31" fmla="*/ 136 h 218"/>
                    <a:gd name="T32" fmla="*/ 100 w 283"/>
                    <a:gd name="T33" fmla="*/ 138 h 218"/>
                    <a:gd name="T34" fmla="*/ 62 w 283"/>
                    <a:gd name="T35" fmla="*/ 88 h 218"/>
                    <a:gd name="T36" fmla="*/ 14 w 283"/>
                    <a:gd name="T37" fmla="*/ 66 h 218"/>
                    <a:gd name="T38" fmla="*/ 30 w 283"/>
                    <a:gd name="T39" fmla="*/ 46 h 218"/>
                    <a:gd name="T40" fmla="*/ 42 w 283"/>
                    <a:gd name="T41" fmla="*/ 42 h 218"/>
                    <a:gd name="T42" fmla="*/ 50 w 283"/>
                    <a:gd name="T43" fmla="*/ 20 h 218"/>
                    <a:gd name="T44" fmla="*/ 86 w 283"/>
                    <a:gd name="T45" fmla="*/ 16 h 218"/>
                    <a:gd name="T46" fmla="*/ 128 w 283"/>
                    <a:gd name="T47" fmla="*/ 4 h 218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0" t="0" r="r" b="b"/>
                  <a:pathLst>
                    <a:path w="283" h="218">
                      <a:moveTo>
                        <a:pt x="128" y="4"/>
                      </a:moveTo>
                      <a:cubicBezTo>
                        <a:pt x="147" y="0"/>
                        <a:pt x="163" y="6"/>
                        <a:pt x="178" y="16"/>
                      </a:cubicBezTo>
                      <a:cubicBezTo>
                        <a:pt x="180" y="21"/>
                        <a:pt x="186" y="29"/>
                        <a:pt x="190" y="32"/>
                      </a:cubicBezTo>
                      <a:cubicBezTo>
                        <a:pt x="194" y="34"/>
                        <a:pt x="202" y="36"/>
                        <a:pt x="202" y="36"/>
                      </a:cubicBezTo>
                      <a:cubicBezTo>
                        <a:pt x="217" y="31"/>
                        <a:pt x="219" y="48"/>
                        <a:pt x="232" y="50"/>
                      </a:cubicBezTo>
                      <a:cubicBezTo>
                        <a:pt x="241" y="51"/>
                        <a:pt x="249" y="51"/>
                        <a:pt x="258" y="52"/>
                      </a:cubicBezTo>
                      <a:cubicBezTo>
                        <a:pt x="260" y="56"/>
                        <a:pt x="260" y="61"/>
                        <a:pt x="264" y="64"/>
                      </a:cubicBezTo>
                      <a:cubicBezTo>
                        <a:pt x="267" y="66"/>
                        <a:pt x="276" y="68"/>
                        <a:pt x="276" y="68"/>
                      </a:cubicBezTo>
                      <a:cubicBezTo>
                        <a:pt x="283" y="79"/>
                        <a:pt x="283" y="83"/>
                        <a:pt x="272" y="90"/>
                      </a:cubicBezTo>
                      <a:cubicBezTo>
                        <a:pt x="269" y="100"/>
                        <a:pt x="272" y="105"/>
                        <a:pt x="276" y="114"/>
                      </a:cubicBezTo>
                      <a:cubicBezTo>
                        <a:pt x="278" y="118"/>
                        <a:pt x="280" y="126"/>
                        <a:pt x="280" y="126"/>
                      </a:cubicBezTo>
                      <a:cubicBezTo>
                        <a:pt x="276" y="139"/>
                        <a:pt x="249" y="138"/>
                        <a:pt x="236" y="140"/>
                      </a:cubicBezTo>
                      <a:cubicBezTo>
                        <a:pt x="220" y="164"/>
                        <a:pt x="224" y="199"/>
                        <a:pt x="196" y="218"/>
                      </a:cubicBezTo>
                      <a:cubicBezTo>
                        <a:pt x="193" y="210"/>
                        <a:pt x="191" y="207"/>
                        <a:pt x="184" y="202"/>
                      </a:cubicBezTo>
                      <a:cubicBezTo>
                        <a:pt x="178" y="194"/>
                        <a:pt x="172" y="189"/>
                        <a:pt x="168" y="180"/>
                      </a:cubicBezTo>
                      <a:cubicBezTo>
                        <a:pt x="162" y="167"/>
                        <a:pt x="157" y="141"/>
                        <a:pt x="142" y="136"/>
                      </a:cubicBezTo>
                      <a:cubicBezTo>
                        <a:pt x="123" y="139"/>
                        <a:pt x="121" y="140"/>
                        <a:pt x="100" y="138"/>
                      </a:cubicBezTo>
                      <a:cubicBezTo>
                        <a:pt x="97" y="117"/>
                        <a:pt x="84" y="95"/>
                        <a:pt x="62" y="88"/>
                      </a:cubicBezTo>
                      <a:cubicBezTo>
                        <a:pt x="50" y="76"/>
                        <a:pt x="32" y="68"/>
                        <a:pt x="14" y="66"/>
                      </a:cubicBezTo>
                      <a:cubicBezTo>
                        <a:pt x="0" y="52"/>
                        <a:pt x="17" y="48"/>
                        <a:pt x="30" y="46"/>
                      </a:cubicBezTo>
                      <a:cubicBezTo>
                        <a:pt x="34" y="45"/>
                        <a:pt x="41" y="46"/>
                        <a:pt x="42" y="42"/>
                      </a:cubicBezTo>
                      <a:cubicBezTo>
                        <a:pt x="43" y="37"/>
                        <a:pt x="44" y="23"/>
                        <a:pt x="50" y="20"/>
                      </a:cubicBezTo>
                      <a:cubicBezTo>
                        <a:pt x="60" y="14"/>
                        <a:pt x="74" y="17"/>
                        <a:pt x="86" y="16"/>
                      </a:cubicBezTo>
                      <a:cubicBezTo>
                        <a:pt x="105" y="10"/>
                        <a:pt x="106" y="4"/>
                        <a:pt x="128" y="4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80" name="Freeform 67"/>
                <p:cNvSpPr>
                  <a:spLocks/>
                </p:cNvSpPr>
                <p:nvPr/>
              </p:nvSpPr>
              <p:spPr bwMode="gray">
                <a:xfrm>
                  <a:off x="954" y="2630"/>
                  <a:ext cx="158" cy="124"/>
                </a:xfrm>
                <a:custGeom>
                  <a:avLst/>
                  <a:gdLst>
                    <a:gd name="T0" fmla="*/ 28 w 158"/>
                    <a:gd name="T1" fmla="*/ 4 h 124"/>
                    <a:gd name="T2" fmla="*/ 42 w 158"/>
                    <a:gd name="T3" fmla="*/ 10 h 124"/>
                    <a:gd name="T4" fmla="*/ 54 w 158"/>
                    <a:gd name="T5" fmla="*/ 14 h 124"/>
                    <a:gd name="T6" fmla="*/ 88 w 158"/>
                    <a:gd name="T7" fmla="*/ 34 h 124"/>
                    <a:gd name="T8" fmla="*/ 132 w 158"/>
                    <a:gd name="T9" fmla="*/ 32 h 124"/>
                    <a:gd name="T10" fmla="*/ 158 w 158"/>
                    <a:gd name="T11" fmla="*/ 96 h 124"/>
                    <a:gd name="T12" fmla="*/ 150 w 158"/>
                    <a:gd name="T13" fmla="*/ 118 h 124"/>
                    <a:gd name="T14" fmla="*/ 136 w 158"/>
                    <a:gd name="T15" fmla="*/ 114 h 124"/>
                    <a:gd name="T16" fmla="*/ 124 w 158"/>
                    <a:gd name="T17" fmla="*/ 106 h 124"/>
                    <a:gd name="T18" fmla="*/ 92 w 158"/>
                    <a:gd name="T19" fmla="*/ 112 h 124"/>
                    <a:gd name="T20" fmla="*/ 68 w 158"/>
                    <a:gd name="T21" fmla="*/ 120 h 124"/>
                    <a:gd name="T22" fmla="*/ 56 w 158"/>
                    <a:gd name="T23" fmla="*/ 124 h 124"/>
                    <a:gd name="T24" fmla="*/ 30 w 158"/>
                    <a:gd name="T25" fmla="*/ 70 h 124"/>
                    <a:gd name="T26" fmla="*/ 20 w 158"/>
                    <a:gd name="T27" fmla="*/ 72 h 124"/>
                    <a:gd name="T28" fmla="*/ 8 w 158"/>
                    <a:gd name="T29" fmla="*/ 64 h 124"/>
                    <a:gd name="T30" fmla="*/ 0 w 158"/>
                    <a:gd name="T31" fmla="*/ 44 h 124"/>
                    <a:gd name="T32" fmla="*/ 28 w 158"/>
                    <a:gd name="T33" fmla="*/ 4 h 124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0" t="0" r="r" b="b"/>
                  <a:pathLst>
                    <a:path w="158" h="124">
                      <a:moveTo>
                        <a:pt x="28" y="4"/>
                      </a:moveTo>
                      <a:cubicBezTo>
                        <a:pt x="47" y="10"/>
                        <a:pt x="17" y="0"/>
                        <a:pt x="42" y="10"/>
                      </a:cubicBezTo>
                      <a:cubicBezTo>
                        <a:pt x="46" y="12"/>
                        <a:pt x="54" y="14"/>
                        <a:pt x="54" y="14"/>
                      </a:cubicBezTo>
                      <a:cubicBezTo>
                        <a:pt x="62" y="25"/>
                        <a:pt x="77" y="26"/>
                        <a:pt x="88" y="34"/>
                      </a:cubicBezTo>
                      <a:cubicBezTo>
                        <a:pt x="108" y="32"/>
                        <a:pt x="111" y="30"/>
                        <a:pt x="132" y="32"/>
                      </a:cubicBezTo>
                      <a:cubicBezTo>
                        <a:pt x="149" y="44"/>
                        <a:pt x="155" y="76"/>
                        <a:pt x="158" y="96"/>
                      </a:cubicBezTo>
                      <a:cubicBezTo>
                        <a:pt x="156" y="105"/>
                        <a:pt x="155" y="110"/>
                        <a:pt x="150" y="118"/>
                      </a:cubicBezTo>
                      <a:cubicBezTo>
                        <a:pt x="148" y="118"/>
                        <a:pt x="138" y="115"/>
                        <a:pt x="136" y="114"/>
                      </a:cubicBezTo>
                      <a:cubicBezTo>
                        <a:pt x="132" y="112"/>
                        <a:pt x="124" y="106"/>
                        <a:pt x="124" y="106"/>
                      </a:cubicBezTo>
                      <a:cubicBezTo>
                        <a:pt x="113" y="108"/>
                        <a:pt x="104" y="111"/>
                        <a:pt x="92" y="112"/>
                      </a:cubicBezTo>
                      <a:cubicBezTo>
                        <a:pt x="84" y="115"/>
                        <a:pt x="76" y="117"/>
                        <a:pt x="68" y="120"/>
                      </a:cubicBezTo>
                      <a:cubicBezTo>
                        <a:pt x="64" y="121"/>
                        <a:pt x="56" y="124"/>
                        <a:pt x="56" y="124"/>
                      </a:cubicBezTo>
                      <a:cubicBezTo>
                        <a:pt x="53" y="110"/>
                        <a:pt x="46" y="75"/>
                        <a:pt x="30" y="70"/>
                      </a:cubicBezTo>
                      <a:cubicBezTo>
                        <a:pt x="27" y="71"/>
                        <a:pt x="23" y="73"/>
                        <a:pt x="20" y="72"/>
                      </a:cubicBezTo>
                      <a:cubicBezTo>
                        <a:pt x="15" y="71"/>
                        <a:pt x="8" y="64"/>
                        <a:pt x="8" y="64"/>
                      </a:cubicBezTo>
                      <a:cubicBezTo>
                        <a:pt x="3" y="57"/>
                        <a:pt x="2" y="52"/>
                        <a:pt x="0" y="44"/>
                      </a:cubicBezTo>
                      <a:cubicBezTo>
                        <a:pt x="3" y="11"/>
                        <a:pt x="6" y="19"/>
                        <a:pt x="28" y="4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81" name="Freeform 68"/>
                <p:cNvSpPr>
                  <a:spLocks/>
                </p:cNvSpPr>
                <p:nvPr/>
              </p:nvSpPr>
              <p:spPr bwMode="gray">
                <a:xfrm>
                  <a:off x="894" y="2690"/>
                  <a:ext cx="118" cy="92"/>
                </a:xfrm>
                <a:custGeom>
                  <a:avLst/>
                  <a:gdLst>
                    <a:gd name="T0" fmla="*/ 34 w 118"/>
                    <a:gd name="T1" fmla="*/ 12 h 92"/>
                    <a:gd name="T2" fmla="*/ 66 w 118"/>
                    <a:gd name="T3" fmla="*/ 0 h 92"/>
                    <a:gd name="T4" fmla="*/ 98 w 118"/>
                    <a:gd name="T5" fmla="*/ 12 h 92"/>
                    <a:gd name="T6" fmla="*/ 118 w 118"/>
                    <a:gd name="T7" fmla="*/ 54 h 92"/>
                    <a:gd name="T8" fmla="*/ 82 w 118"/>
                    <a:gd name="T9" fmla="*/ 66 h 92"/>
                    <a:gd name="T10" fmla="*/ 52 w 118"/>
                    <a:gd name="T11" fmla="*/ 92 h 92"/>
                    <a:gd name="T12" fmla="*/ 18 w 118"/>
                    <a:gd name="T13" fmla="*/ 86 h 92"/>
                    <a:gd name="T14" fmla="*/ 2 w 118"/>
                    <a:gd name="T15" fmla="*/ 82 h 92"/>
                    <a:gd name="T16" fmla="*/ 8 w 118"/>
                    <a:gd name="T17" fmla="*/ 62 h 92"/>
                    <a:gd name="T18" fmla="*/ 12 w 118"/>
                    <a:gd name="T19" fmla="*/ 50 h 92"/>
                    <a:gd name="T20" fmla="*/ 4 w 118"/>
                    <a:gd name="T21" fmla="*/ 38 h 92"/>
                    <a:gd name="T22" fmla="*/ 2 w 118"/>
                    <a:gd name="T23" fmla="*/ 32 h 92"/>
                    <a:gd name="T24" fmla="*/ 20 w 118"/>
                    <a:gd name="T25" fmla="*/ 38 h 92"/>
                    <a:gd name="T26" fmla="*/ 26 w 118"/>
                    <a:gd name="T27" fmla="*/ 16 h 92"/>
                    <a:gd name="T28" fmla="*/ 34 w 118"/>
                    <a:gd name="T29" fmla="*/ 12 h 92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0" t="0" r="r" b="b"/>
                  <a:pathLst>
                    <a:path w="118" h="92">
                      <a:moveTo>
                        <a:pt x="34" y="12"/>
                      </a:moveTo>
                      <a:cubicBezTo>
                        <a:pt x="45" y="8"/>
                        <a:pt x="56" y="6"/>
                        <a:pt x="66" y="0"/>
                      </a:cubicBezTo>
                      <a:cubicBezTo>
                        <a:pt x="77" y="3"/>
                        <a:pt x="88" y="6"/>
                        <a:pt x="98" y="12"/>
                      </a:cubicBezTo>
                      <a:cubicBezTo>
                        <a:pt x="106" y="24"/>
                        <a:pt x="113" y="40"/>
                        <a:pt x="118" y="54"/>
                      </a:cubicBezTo>
                      <a:cubicBezTo>
                        <a:pt x="113" y="70"/>
                        <a:pt x="95" y="58"/>
                        <a:pt x="82" y="66"/>
                      </a:cubicBezTo>
                      <a:cubicBezTo>
                        <a:pt x="75" y="86"/>
                        <a:pt x="74" y="88"/>
                        <a:pt x="52" y="92"/>
                      </a:cubicBezTo>
                      <a:cubicBezTo>
                        <a:pt x="26" y="90"/>
                        <a:pt x="37" y="92"/>
                        <a:pt x="18" y="86"/>
                      </a:cubicBezTo>
                      <a:cubicBezTo>
                        <a:pt x="13" y="84"/>
                        <a:pt x="2" y="82"/>
                        <a:pt x="2" y="82"/>
                      </a:cubicBezTo>
                      <a:cubicBezTo>
                        <a:pt x="5" y="70"/>
                        <a:pt x="3" y="77"/>
                        <a:pt x="8" y="62"/>
                      </a:cubicBezTo>
                      <a:cubicBezTo>
                        <a:pt x="9" y="58"/>
                        <a:pt x="12" y="50"/>
                        <a:pt x="12" y="50"/>
                      </a:cubicBezTo>
                      <a:cubicBezTo>
                        <a:pt x="9" y="46"/>
                        <a:pt x="7" y="42"/>
                        <a:pt x="4" y="38"/>
                      </a:cubicBezTo>
                      <a:cubicBezTo>
                        <a:pt x="3" y="36"/>
                        <a:pt x="0" y="32"/>
                        <a:pt x="2" y="32"/>
                      </a:cubicBezTo>
                      <a:cubicBezTo>
                        <a:pt x="8" y="31"/>
                        <a:pt x="20" y="38"/>
                        <a:pt x="20" y="38"/>
                      </a:cubicBezTo>
                      <a:cubicBezTo>
                        <a:pt x="22" y="31"/>
                        <a:pt x="22" y="22"/>
                        <a:pt x="26" y="16"/>
                      </a:cubicBezTo>
                      <a:cubicBezTo>
                        <a:pt x="28" y="14"/>
                        <a:pt x="34" y="12"/>
                        <a:pt x="34" y="12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82" name="Freeform 69"/>
                <p:cNvSpPr>
                  <a:spLocks/>
                </p:cNvSpPr>
                <p:nvPr/>
              </p:nvSpPr>
              <p:spPr bwMode="gray">
                <a:xfrm>
                  <a:off x="764" y="2552"/>
                  <a:ext cx="304" cy="178"/>
                </a:xfrm>
                <a:custGeom>
                  <a:avLst/>
                  <a:gdLst>
                    <a:gd name="T0" fmla="*/ 190 w 304"/>
                    <a:gd name="T1" fmla="*/ 18 h 178"/>
                    <a:gd name="T2" fmla="*/ 214 w 304"/>
                    <a:gd name="T3" fmla="*/ 12 h 178"/>
                    <a:gd name="T4" fmla="*/ 240 w 304"/>
                    <a:gd name="T5" fmla="*/ 0 h 178"/>
                    <a:gd name="T6" fmla="*/ 254 w 304"/>
                    <a:gd name="T7" fmla="*/ 12 h 178"/>
                    <a:gd name="T8" fmla="*/ 270 w 304"/>
                    <a:gd name="T9" fmla="*/ 24 h 178"/>
                    <a:gd name="T10" fmla="*/ 292 w 304"/>
                    <a:gd name="T11" fmla="*/ 38 h 178"/>
                    <a:gd name="T12" fmla="*/ 304 w 304"/>
                    <a:gd name="T13" fmla="*/ 60 h 178"/>
                    <a:gd name="T14" fmla="*/ 274 w 304"/>
                    <a:gd name="T15" fmla="*/ 76 h 178"/>
                    <a:gd name="T16" fmla="*/ 250 w 304"/>
                    <a:gd name="T17" fmla="*/ 90 h 178"/>
                    <a:gd name="T18" fmla="*/ 236 w 304"/>
                    <a:gd name="T19" fmla="*/ 84 h 178"/>
                    <a:gd name="T20" fmla="*/ 224 w 304"/>
                    <a:gd name="T21" fmla="*/ 80 h 178"/>
                    <a:gd name="T22" fmla="*/ 200 w 304"/>
                    <a:gd name="T23" fmla="*/ 90 h 178"/>
                    <a:gd name="T24" fmla="*/ 192 w 304"/>
                    <a:gd name="T25" fmla="*/ 108 h 178"/>
                    <a:gd name="T26" fmla="*/ 164 w 304"/>
                    <a:gd name="T27" fmla="*/ 156 h 178"/>
                    <a:gd name="T28" fmla="*/ 150 w 304"/>
                    <a:gd name="T29" fmla="*/ 176 h 178"/>
                    <a:gd name="T30" fmla="*/ 94 w 304"/>
                    <a:gd name="T31" fmla="*/ 174 h 178"/>
                    <a:gd name="T32" fmla="*/ 78 w 304"/>
                    <a:gd name="T33" fmla="*/ 178 h 178"/>
                    <a:gd name="T34" fmla="*/ 56 w 304"/>
                    <a:gd name="T35" fmla="*/ 152 h 178"/>
                    <a:gd name="T36" fmla="*/ 38 w 304"/>
                    <a:gd name="T37" fmla="*/ 134 h 178"/>
                    <a:gd name="T38" fmla="*/ 20 w 304"/>
                    <a:gd name="T39" fmla="*/ 122 h 178"/>
                    <a:gd name="T40" fmla="*/ 6 w 304"/>
                    <a:gd name="T41" fmla="*/ 106 h 178"/>
                    <a:gd name="T42" fmla="*/ 0 w 304"/>
                    <a:gd name="T43" fmla="*/ 88 h 178"/>
                    <a:gd name="T44" fmla="*/ 76 w 304"/>
                    <a:gd name="T45" fmla="*/ 50 h 178"/>
                    <a:gd name="T46" fmla="*/ 80 w 304"/>
                    <a:gd name="T47" fmla="*/ 44 h 178"/>
                    <a:gd name="T48" fmla="*/ 86 w 304"/>
                    <a:gd name="T49" fmla="*/ 42 h 178"/>
                    <a:gd name="T50" fmla="*/ 92 w 304"/>
                    <a:gd name="T51" fmla="*/ 24 h 178"/>
                    <a:gd name="T52" fmla="*/ 104 w 304"/>
                    <a:gd name="T53" fmla="*/ 16 h 178"/>
                    <a:gd name="T54" fmla="*/ 148 w 304"/>
                    <a:gd name="T55" fmla="*/ 18 h 178"/>
                    <a:gd name="T56" fmla="*/ 170 w 304"/>
                    <a:gd name="T57" fmla="*/ 2 h 178"/>
                    <a:gd name="T58" fmla="*/ 190 w 304"/>
                    <a:gd name="T59" fmla="*/ 18 h 17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304" h="178">
                      <a:moveTo>
                        <a:pt x="190" y="18"/>
                      </a:moveTo>
                      <a:cubicBezTo>
                        <a:pt x="198" y="16"/>
                        <a:pt x="206" y="14"/>
                        <a:pt x="214" y="12"/>
                      </a:cubicBezTo>
                      <a:cubicBezTo>
                        <a:pt x="222" y="7"/>
                        <a:pt x="231" y="3"/>
                        <a:pt x="240" y="0"/>
                      </a:cubicBezTo>
                      <a:cubicBezTo>
                        <a:pt x="248" y="3"/>
                        <a:pt x="247" y="7"/>
                        <a:pt x="254" y="12"/>
                      </a:cubicBezTo>
                      <a:cubicBezTo>
                        <a:pt x="259" y="19"/>
                        <a:pt x="263" y="19"/>
                        <a:pt x="270" y="24"/>
                      </a:cubicBezTo>
                      <a:cubicBezTo>
                        <a:pt x="274" y="35"/>
                        <a:pt x="282" y="35"/>
                        <a:pt x="292" y="38"/>
                      </a:cubicBezTo>
                      <a:cubicBezTo>
                        <a:pt x="302" y="45"/>
                        <a:pt x="302" y="48"/>
                        <a:pt x="304" y="60"/>
                      </a:cubicBezTo>
                      <a:cubicBezTo>
                        <a:pt x="301" y="87"/>
                        <a:pt x="297" y="79"/>
                        <a:pt x="274" y="76"/>
                      </a:cubicBezTo>
                      <a:cubicBezTo>
                        <a:pt x="256" y="70"/>
                        <a:pt x="263" y="86"/>
                        <a:pt x="250" y="90"/>
                      </a:cubicBezTo>
                      <a:cubicBezTo>
                        <a:pt x="229" y="85"/>
                        <a:pt x="254" y="92"/>
                        <a:pt x="236" y="84"/>
                      </a:cubicBezTo>
                      <a:cubicBezTo>
                        <a:pt x="232" y="82"/>
                        <a:pt x="224" y="80"/>
                        <a:pt x="224" y="80"/>
                      </a:cubicBezTo>
                      <a:cubicBezTo>
                        <a:pt x="215" y="81"/>
                        <a:pt x="200" y="90"/>
                        <a:pt x="200" y="90"/>
                      </a:cubicBezTo>
                      <a:cubicBezTo>
                        <a:pt x="196" y="95"/>
                        <a:pt x="192" y="108"/>
                        <a:pt x="192" y="108"/>
                      </a:cubicBezTo>
                      <a:cubicBezTo>
                        <a:pt x="190" y="155"/>
                        <a:pt x="197" y="148"/>
                        <a:pt x="164" y="156"/>
                      </a:cubicBezTo>
                      <a:cubicBezTo>
                        <a:pt x="154" y="162"/>
                        <a:pt x="160" y="170"/>
                        <a:pt x="150" y="176"/>
                      </a:cubicBezTo>
                      <a:cubicBezTo>
                        <a:pt x="131" y="163"/>
                        <a:pt x="143" y="170"/>
                        <a:pt x="94" y="174"/>
                      </a:cubicBezTo>
                      <a:cubicBezTo>
                        <a:pt x="89" y="174"/>
                        <a:pt x="78" y="178"/>
                        <a:pt x="78" y="178"/>
                      </a:cubicBezTo>
                      <a:cubicBezTo>
                        <a:pt x="69" y="169"/>
                        <a:pt x="68" y="156"/>
                        <a:pt x="56" y="152"/>
                      </a:cubicBezTo>
                      <a:cubicBezTo>
                        <a:pt x="50" y="146"/>
                        <a:pt x="45" y="139"/>
                        <a:pt x="38" y="134"/>
                      </a:cubicBezTo>
                      <a:cubicBezTo>
                        <a:pt x="32" y="130"/>
                        <a:pt x="20" y="122"/>
                        <a:pt x="20" y="122"/>
                      </a:cubicBezTo>
                      <a:cubicBezTo>
                        <a:pt x="17" y="114"/>
                        <a:pt x="13" y="111"/>
                        <a:pt x="6" y="106"/>
                      </a:cubicBezTo>
                      <a:cubicBezTo>
                        <a:pt x="4" y="100"/>
                        <a:pt x="0" y="88"/>
                        <a:pt x="0" y="88"/>
                      </a:cubicBezTo>
                      <a:cubicBezTo>
                        <a:pt x="4" y="66"/>
                        <a:pt x="55" y="53"/>
                        <a:pt x="76" y="50"/>
                      </a:cubicBezTo>
                      <a:cubicBezTo>
                        <a:pt x="77" y="48"/>
                        <a:pt x="78" y="46"/>
                        <a:pt x="80" y="44"/>
                      </a:cubicBezTo>
                      <a:cubicBezTo>
                        <a:pt x="82" y="43"/>
                        <a:pt x="85" y="44"/>
                        <a:pt x="86" y="42"/>
                      </a:cubicBezTo>
                      <a:cubicBezTo>
                        <a:pt x="86" y="42"/>
                        <a:pt x="91" y="27"/>
                        <a:pt x="92" y="24"/>
                      </a:cubicBezTo>
                      <a:cubicBezTo>
                        <a:pt x="94" y="19"/>
                        <a:pt x="104" y="16"/>
                        <a:pt x="104" y="16"/>
                      </a:cubicBezTo>
                      <a:cubicBezTo>
                        <a:pt x="123" y="21"/>
                        <a:pt x="121" y="20"/>
                        <a:pt x="148" y="18"/>
                      </a:cubicBezTo>
                      <a:cubicBezTo>
                        <a:pt x="154" y="10"/>
                        <a:pt x="161" y="5"/>
                        <a:pt x="170" y="2"/>
                      </a:cubicBezTo>
                      <a:cubicBezTo>
                        <a:pt x="173" y="11"/>
                        <a:pt x="181" y="18"/>
                        <a:pt x="190" y="18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83" name="Freeform 70"/>
                <p:cNvSpPr>
                  <a:spLocks/>
                </p:cNvSpPr>
                <p:nvPr/>
              </p:nvSpPr>
              <p:spPr bwMode="gray">
                <a:xfrm>
                  <a:off x="726" y="2656"/>
                  <a:ext cx="180" cy="137"/>
                </a:xfrm>
                <a:custGeom>
                  <a:avLst/>
                  <a:gdLst>
                    <a:gd name="T0" fmla="*/ 138 w 180"/>
                    <a:gd name="T1" fmla="*/ 132 h 137"/>
                    <a:gd name="T2" fmla="*/ 172 w 180"/>
                    <a:gd name="T3" fmla="*/ 128 h 137"/>
                    <a:gd name="T4" fmla="*/ 178 w 180"/>
                    <a:gd name="T5" fmla="*/ 104 h 137"/>
                    <a:gd name="T6" fmla="*/ 180 w 180"/>
                    <a:gd name="T7" fmla="*/ 98 h 137"/>
                    <a:gd name="T8" fmla="*/ 174 w 180"/>
                    <a:gd name="T9" fmla="*/ 70 h 137"/>
                    <a:gd name="T10" fmla="*/ 162 w 180"/>
                    <a:gd name="T11" fmla="*/ 66 h 137"/>
                    <a:gd name="T12" fmla="*/ 144 w 180"/>
                    <a:gd name="T13" fmla="*/ 68 h 137"/>
                    <a:gd name="T14" fmla="*/ 132 w 180"/>
                    <a:gd name="T15" fmla="*/ 72 h 137"/>
                    <a:gd name="T16" fmla="*/ 100 w 180"/>
                    <a:gd name="T17" fmla="*/ 48 h 137"/>
                    <a:gd name="T18" fmla="*/ 88 w 180"/>
                    <a:gd name="T19" fmla="*/ 40 h 137"/>
                    <a:gd name="T20" fmla="*/ 64 w 180"/>
                    <a:gd name="T21" fmla="*/ 12 h 137"/>
                    <a:gd name="T22" fmla="*/ 46 w 180"/>
                    <a:gd name="T23" fmla="*/ 0 h 137"/>
                    <a:gd name="T24" fmla="*/ 32 w 180"/>
                    <a:gd name="T25" fmla="*/ 8 h 137"/>
                    <a:gd name="T26" fmla="*/ 24 w 180"/>
                    <a:gd name="T27" fmla="*/ 32 h 137"/>
                    <a:gd name="T28" fmla="*/ 0 w 180"/>
                    <a:gd name="T29" fmla="*/ 46 h 137"/>
                    <a:gd name="T30" fmla="*/ 30 w 180"/>
                    <a:gd name="T31" fmla="*/ 70 h 137"/>
                    <a:gd name="T32" fmla="*/ 36 w 180"/>
                    <a:gd name="T33" fmla="*/ 102 h 137"/>
                    <a:gd name="T34" fmla="*/ 48 w 180"/>
                    <a:gd name="T35" fmla="*/ 106 h 137"/>
                    <a:gd name="T36" fmla="*/ 72 w 180"/>
                    <a:gd name="T37" fmla="*/ 122 h 137"/>
                    <a:gd name="T38" fmla="*/ 90 w 180"/>
                    <a:gd name="T39" fmla="*/ 114 h 137"/>
                    <a:gd name="T40" fmla="*/ 116 w 180"/>
                    <a:gd name="T41" fmla="*/ 128 h 137"/>
                    <a:gd name="T42" fmla="*/ 122 w 180"/>
                    <a:gd name="T43" fmla="*/ 132 h 137"/>
                    <a:gd name="T44" fmla="*/ 158 w 180"/>
                    <a:gd name="T45" fmla="*/ 132 h 137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0" t="0" r="r" b="b"/>
                  <a:pathLst>
                    <a:path w="180" h="137">
                      <a:moveTo>
                        <a:pt x="138" y="132"/>
                      </a:moveTo>
                      <a:cubicBezTo>
                        <a:pt x="157" y="134"/>
                        <a:pt x="159" y="137"/>
                        <a:pt x="172" y="128"/>
                      </a:cubicBezTo>
                      <a:cubicBezTo>
                        <a:pt x="175" y="112"/>
                        <a:pt x="173" y="120"/>
                        <a:pt x="178" y="104"/>
                      </a:cubicBezTo>
                      <a:cubicBezTo>
                        <a:pt x="179" y="102"/>
                        <a:pt x="180" y="98"/>
                        <a:pt x="180" y="98"/>
                      </a:cubicBezTo>
                      <a:cubicBezTo>
                        <a:pt x="177" y="78"/>
                        <a:pt x="180" y="87"/>
                        <a:pt x="174" y="70"/>
                      </a:cubicBezTo>
                      <a:cubicBezTo>
                        <a:pt x="173" y="66"/>
                        <a:pt x="162" y="66"/>
                        <a:pt x="162" y="66"/>
                      </a:cubicBezTo>
                      <a:cubicBezTo>
                        <a:pt x="156" y="67"/>
                        <a:pt x="150" y="67"/>
                        <a:pt x="144" y="68"/>
                      </a:cubicBezTo>
                      <a:cubicBezTo>
                        <a:pt x="140" y="69"/>
                        <a:pt x="132" y="72"/>
                        <a:pt x="132" y="72"/>
                      </a:cubicBezTo>
                      <a:cubicBezTo>
                        <a:pt x="105" y="68"/>
                        <a:pt x="117" y="63"/>
                        <a:pt x="100" y="48"/>
                      </a:cubicBezTo>
                      <a:cubicBezTo>
                        <a:pt x="96" y="45"/>
                        <a:pt x="88" y="40"/>
                        <a:pt x="88" y="40"/>
                      </a:cubicBezTo>
                      <a:cubicBezTo>
                        <a:pt x="85" y="30"/>
                        <a:pt x="72" y="19"/>
                        <a:pt x="64" y="12"/>
                      </a:cubicBezTo>
                      <a:cubicBezTo>
                        <a:pt x="59" y="7"/>
                        <a:pt x="46" y="0"/>
                        <a:pt x="46" y="0"/>
                      </a:cubicBezTo>
                      <a:cubicBezTo>
                        <a:pt x="42" y="3"/>
                        <a:pt x="35" y="4"/>
                        <a:pt x="32" y="8"/>
                      </a:cubicBezTo>
                      <a:cubicBezTo>
                        <a:pt x="28" y="13"/>
                        <a:pt x="26" y="26"/>
                        <a:pt x="24" y="32"/>
                      </a:cubicBezTo>
                      <a:cubicBezTo>
                        <a:pt x="22" y="37"/>
                        <a:pt x="4" y="43"/>
                        <a:pt x="0" y="46"/>
                      </a:cubicBezTo>
                      <a:cubicBezTo>
                        <a:pt x="3" y="62"/>
                        <a:pt x="14" y="65"/>
                        <a:pt x="30" y="70"/>
                      </a:cubicBezTo>
                      <a:cubicBezTo>
                        <a:pt x="33" y="79"/>
                        <a:pt x="29" y="97"/>
                        <a:pt x="36" y="102"/>
                      </a:cubicBezTo>
                      <a:cubicBezTo>
                        <a:pt x="39" y="104"/>
                        <a:pt x="48" y="106"/>
                        <a:pt x="48" y="106"/>
                      </a:cubicBezTo>
                      <a:cubicBezTo>
                        <a:pt x="54" y="115"/>
                        <a:pt x="62" y="119"/>
                        <a:pt x="72" y="122"/>
                      </a:cubicBezTo>
                      <a:cubicBezTo>
                        <a:pt x="76" y="111"/>
                        <a:pt x="79" y="112"/>
                        <a:pt x="90" y="114"/>
                      </a:cubicBezTo>
                      <a:cubicBezTo>
                        <a:pt x="99" y="120"/>
                        <a:pt x="107" y="122"/>
                        <a:pt x="116" y="128"/>
                      </a:cubicBezTo>
                      <a:cubicBezTo>
                        <a:pt x="118" y="129"/>
                        <a:pt x="122" y="132"/>
                        <a:pt x="122" y="132"/>
                      </a:cubicBezTo>
                      <a:cubicBezTo>
                        <a:pt x="133" y="128"/>
                        <a:pt x="146" y="132"/>
                        <a:pt x="158" y="132"/>
                      </a:cubicBezTo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84" name="Freeform 71"/>
                <p:cNvSpPr>
                  <a:spLocks/>
                </p:cNvSpPr>
                <p:nvPr/>
              </p:nvSpPr>
              <p:spPr bwMode="gray">
                <a:xfrm>
                  <a:off x="702" y="2710"/>
                  <a:ext cx="162" cy="168"/>
                </a:xfrm>
                <a:custGeom>
                  <a:avLst/>
                  <a:gdLst>
                    <a:gd name="T0" fmla="*/ 0 w 162"/>
                    <a:gd name="T1" fmla="*/ 14 h 168"/>
                    <a:gd name="T2" fmla="*/ 24 w 162"/>
                    <a:gd name="T3" fmla="*/ 0 h 168"/>
                    <a:gd name="T4" fmla="*/ 44 w 162"/>
                    <a:gd name="T5" fmla="*/ 10 h 168"/>
                    <a:gd name="T6" fmla="*/ 56 w 162"/>
                    <a:gd name="T7" fmla="*/ 14 h 168"/>
                    <a:gd name="T8" fmla="*/ 72 w 162"/>
                    <a:gd name="T9" fmla="*/ 50 h 168"/>
                    <a:gd name="T10" fmla="*/ 90 w 162"/>
                    <a:gd name="T11" fmla="*/ 62 h 168"/>
                    <a:gd name="T12" fmla="*/ 108 w 162"/>
                    <a:gd name="T13" fmla="*/ 56 h 168"/>
                    <a:gd name="T14" fmla="*/ 126 w 162"/>
                    <a:gd name="T15" fmla="*/ 64 h 168"/>
                    <a:gd name="T16" fmla="*/ 144 w 162"/>
                    <a:gd name="T17" fmla="*/ 74 h 168"/>
                    <a:gd name="T18" fmla="*/ 154 w 162"/>
                    <a:gd name="T19" fmla="*/ 112 h 168"/>
                    <a:gd name="T20" fmla="*/ 162 w 162"/>
                    <a:gd name="T21" fmla="*/ 124 h 168"/>
                    <a:gd name="T22" fmla="*/ 148 w 162"/>
                    <a:gd name="T23" fmla="*/ 144 h 168"/>
                    <a:gd name="T24" fmla="*/ 138 w 162"/>
                    <a:gd name="T25" fmla="*/ 168 h 168"/>
                    <a:gd name="T26" fmla="*/ 118 w 162"/>
                    <a:gd name="T27" fmla="*/ 158 h 168"/>
                    <a:gd name="T28" fmla="*/ 32 w 162"/>
                    <a:gd name="T29" fmla="*/ 120 h 168"/>
                    <a:gd name="T30" fmla="*/ 4 w 162"/>
                    <a:gd name="T31" fmla="*/ 88 h 168"/>
                    <a:gd name="T32" fmla="*/ 6 w 162"/>
                    <a:gd name="T33" fmla="*/ 60 h 168"/>
                    <a:gd name="T34" fmla="*/ 0 w 162"/>
                    <a:gd name="T35" fmla="*/ 14 h 168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0" t="0" r="r" b="b"/>
                  <a:pathLst>
                    <a:path w="162" h="168">
                      <a:moveTo>
                        <a:pt x="0" y="14"/>
                      </a:moveTo>
                      <a:cubicBezTo>
                        <a:pt x="8" y="8"/>
                        <a:pt x="16" y="5"/>
                        <a:pt x="24" y="0"/>
                      </a:cubicBezTo>
                      <a:cubicBezTo>
                        <a:pt x="31" y="2"/>
                        <a:pt x="37" y="7"/>
                        <a:pt x="44" y="10"/>
                      </a:cubicBezTo>
                      <a:cubicBezTo>
                        <a:pt x="48" y="12"/>
                        <a:pt x="56" y="14"/>
                        <a:pt x="56" y="14"/>
                      </a:cubicBezTo>
                      <a:cubicBezTo>
                        <a:pt x="65" y="27"/>
                        <a:pt x="55" y="44"/>
                        <a:pt x="72" y="50"/>
                      </a:cubicBezTo>
                      <a:cubicBezTo>
                        <a:pt x="78" y="56"/>
                        <a:pt x="82" y="59"/>
                        <a:pt x="90" y="62"/>
                      </a:cubicBezTo>
                      <a:cubicBezTo>
                        <a:pt x="96" y="60"/>
                        <a:pt x="108" y="56"/>
                        <a:pt x="108" y="56"/>
                      </a:cubicBezTo>
                      <a:cubicBezTo>
                        <a:pt x="122" y="61"/>
                        <a:pt x="116" y="58"/>
                        <a:pt x="126" y="64"/>
                      </a:cubicBezTo>
                      <a:cubicBezTo>
                        <a:pt x="131" y="72"/>
                        <a:pt x="136" y="71"/>
                        <a:pt x="144" y="74"/>
                      </a:cubicBezTo>
                      <a:cubicBezTo>
                        <a:pt x="148" y="87"/>
                        <a:pt x="150" y="99"/>
                        <a:pt x="154" y="112"/>
                      </a:cubicBezTo>
                      <a:cubicBezTo>
                        <a:pt x="156" y="117"/>
                        <a:pt x="162" y="124"/>
                        <a:pt x="162" y="124"/>
                      </a:cubicBezTo>
                      <a:cubicBezTo>
                        <a:pt x="160" y="136"/>
                        <a:pt x="156" y="136"/>
                        <a:pt x="148" y="144"/>
                      </a:cubicBezTo>
                      <a:cubicBezTo>
                        <a:pt x="145" y="154"/>
                        <a:pt x="147" y="162"/>
                        <a:pt x="138" y="168"/>
                      </a:cubicBezTo>
                      <a:cubicBezTo>
                        <a:pt x="126" y="166"/>
                        <a:pt x="128" y="161"/>
                        <a:pt x="118" y="158"/>
                      </a:cubicBezTo>
                      <a:cubicBezTo>
                        <a:pt x="89" y="165"/>
                        <a:pt x="49" y="145"/>
                        <a:pt x="32" y="120"/>
                      </a:cubicBezTo>
                      <a:cubicBezTo>
                        <a:pt x="23" y="106"/>
                        <a:pt x="18" y="97"/>
                        <a:pt x="4" y="88"/>
                      </a:cubicBezTo>
                      <a:cubicBezTo>
                        <a:pt x="1" y="78"/>
                        <a:pt x="4" y="70"/>
                        <a:pt x="6" y="60"/>
                      </a:cubicBezTo>
                      <a:cubicBezTo>
                        <a:pt x="5" y="44"/>
                        <a:pt x="0" y="30"/>
                        <a:pt x="0" y="14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85" name="Freeform 72"/>
                <p:cNvSpPr>
                  <a:spLocks/>
                </p:cNvSpPr>
                <p:nvPr/>
              </p:nvSpPr>
              <p:spPr bwMode="gray">
                <a:xfrm>
                  <a:off x="840" y="2774"/>
                  <a:ext cx="188" cy="142"/>
                </a:xfrm>
                <a:custGeom>
                  <a:avLst/>
                  <a:gdLst>
                    <a:gd name="T0" fmla="*/ 84 w 188"/>
                    <a:gd name="T1" fmla="*/ 94 h 142"/>
                    <a:gd name="T2" fmla="*/ 56 w 188"/>
                    <a:gd name="T3" fmla="*/ 96 h 142"/>
                    <a:gd name="T4" fmla="*/ 62 w 188"/>
                    <a:gd name="T5" fmla="*/ 120 h 142"/>
                    <a:gd name="T6" fmla="*/ 60 w 188"/>
                    <a:gd name="T7" fmla="*/ 138 h 142"/>
                    <a:gd name="T8" fmla="*/ 54 w 188"/>
                    <a:gd name="T9" fmla="*/ 142 h 142"/>
                    <a:gd name="T10" fmla="*/ 46 w 188"/>
                    <a:gd name="T11" fmla="*/ 120 h 142"/>
                    <a:gd name="T12" fmla="*/ 34 w 188"/>
                    <a:gd name="T13" fmla="*/ 114 h 142"/>
                    <a:gd name="T14" fmla="*/ 8 w 188"/>
                    <a:gd name="T15" fmla="*/ 118 h 142"/>
                    <a:gd name="T16" fmla="*/ 8 w 188"/>
                    <a:gd name="T17" fmla="*/ 90 h 142"/>
                    <a:gd name="T18" fmla="*/ 20 w 188"/>
                    <a:gd name="T19" fmla="*/ 66 h 142"/>
                    <a:gd name="T20" fmla="*/ 12 w 188"/>
                    <a:gd name="T21" fmla="*/ 42 h 142"/>
                    <a:gd name="T22" fmla="*/ 22 w 188"/>
                    <a:gd name="T23" fmla="*/ 8 h 142"/>
                    <a:gd name="T24" fmla="*/ 48 w 188"/>
                    <a:gd name="T25" fmla="*/ 14 h 142"/>
                    <a:gd name="T26" fmla="*/ 60 w 188"/>
                    <a:gd name="T27" fmla="*/ 0 h 142"/>
                    <a:gd name="T28" fmla="*/ 138 w 188"/>
                    <a:gd name="T29" fmla="*/ 30 h 142"/>
                    <a:gd name="T30" fmla="*/ 160 w 188"/>
                    <a:gd name="T31" fmla="*/ 46 h 142"/>
                    <a:gd name="T32" fmla="*/ 176 w 188"/>
                    <a:gd name="T33" fmla="*/ 62 h 142"/>
                    <a:gd name="T34" fmla="*/ 188 w 188"/>
                    <a:gd name="T35" fmla="*/ 94 h 142"/>
                    <a:gd name="T36" fmla="*/ 164 w 188"/>
                    <a:gd name="T37" fmla="*/ 114 h 142"/>
                    <a:gd name="T38" fmla="*/ 136 w 188"/>
                    <a:gd name="T39" fmla="*/ 108 h 142"/>
                    <a:gd name="T40" fmla="*/ 84 w 188"/>
                    <a:gd name="T41" fmla="*/ 94 h 142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0" t="0" r="r" b="b"/>
                  <a:pathLst>
                    <a:path w="188" h="142">
                      <a:moveTo>
                        <a:pt x="84" y="94"/>
                      </a:moveTo>
                      <a:cubicBezTo>
                        <a:pt x="75" y="95"/>
                        <a:pt x="64" y="92"/>
                        <a:pt x="56" y="96"/>
                      </a:cubicBezTo>
                      <a:cubicBezTo>
                        <a:pt x="49" y="100"/>
                        <a:pt x="62" y="120"/>
                        <a:pt x="62" y="120"/>
                      </a:cubicBezTo>
                      <a:cubicBezTo>
                        <a:pt x="61" y="126"/>
                        <a:pt x="62" y="132"/>
                        <a:pt x="60" y="138"/>
                      </a:cubicBezTo>
                      <a:cubicBezTo>
                        <a:pt x="59" y="140"/>
                        <a:pt x="56" y="142"/>
                        <a:pt x="54" y="142"/>
                      </a:cubicBezTo>
                      <a:cubicBezTo>
                        <a:pt x="48" y="141"/>
                        <a:pt x="48" y="123"/>
                        <a:pt x="46" y="120"/>
                      </a:cubicBezTo>
                      <a:cubicBezTo>
                        <a:pt x="44" y="116"/>
                        <a:pt x="38" y="116"/>
                        <a:pt x="34" y="114"/>
                      </a:cubicBezTo>
                      <a:cubicBezTo>
                        <a:pt x="21" y="118"/>
                        <a:pt x="24" y="120"/>
                        <a:pt x="8" y="118"/>
                      </a:cubicBezTo>
                      <a:cubicBezTo>
                        <a:pt x="4" y="106"/>
                        <a:pt x="0" y="102"/>
                        <a:pt x="8" y="90"/>
                      </a:cubicBezTo>
                      <a:cubicBezTo>
                        <a:pt x="11" y="79"/>
                        <a:pt x="11" y="72"/>
                        <a:pt x="20" y="66"/>
                      </a:cubicBezTo>
                      <a:cubicBezTo>
                        <a:pt x="27" y="56"/>
                        <a:pt x="21" y="48"/>
                        <a:pt x="12" y="42"/>
                      </a:cubicBezTo>
                      <a:cubicBezTo>
                        <a:pt x="7" y="27"/>
                        <a:pt x="4" y="14"/>
                        <a:pt x="22" y="8"/>
                      </a:cubicBezTo>
                      <a:cubicBezTo>
                        <a:pt x="31" y="10"/>
                        <a:pt x="39" y="12"/>
                        <a:pt x="48" y="14"/>
                      </a:cubicBezTo>
                      <a:cubicBezTo>
                        <a:pt x="56" y="11"/>
                        <a:pt x="55" y="7"/>
                        <a:pt x="60" y="0"/>
                      </a:cubicBezTo>
                      <a:cubicBezTo>
                        <a:pt x="88" y="3"/>
                        <a:pt x="111" y="23"/>
                        <a:pt x="138" y="30"/>
                      </a:cubicBezTo>
                      <a:cubicBezTo>
                        <a:pt x="146" y="35"/>
                        <a:pt x="152" y="41"/>
                        <a:pt x="160" y="46"/>
                      </a:cubicBezTo>
                      <a:cubicBezTo>
                        <a:pt x="165" y="53"/>
                        <a:pt x="169" y="57"/>
                        <a:pt x="176" y="62"/>
                      </a:cubicBezTo>
                      <a:cubicBezTo>
                        <a:pt x="183" y="72"/>
                        <a:pt x="184" y="83"/>
                        <a:pt x="188" y="94"/>
                      </a:cubicBezTo>
                      <a:cubicBezTo>
                        <a:pt x="184" y="106"/>
                        <a:pt x="176" y="110"/>
                        <a:pt x="164" y="114"/>
                      </a:cubicBezTo>
                      <a:cubicBezTo>
                        <a:pt x="154" y="113"/>
                        <a:pt x="145" y="111"/>
                        <a:pt x="136" y="108"/>
                      </a:cubicBezTo>
                      <a:cubicBezTo>
                        <a:pt x="120" y="92"/>
                        <a:pt x="106" y="92"/>
                        <a:pt x="84" y="94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86" name="Freeform 73"/>
                <p:cNvSpPr>
                  <a:spLocks/>
                </p:cNvSpPr>
                <p:nvPr/>
              </p:nvSpPr>
              <p:spPr bwMode="gray">
                <a:xfrm>
                  <a:off x="886" y="2859"/>
                  <a:ext cx="208" cy="159"/>
                </a:xfrm>
                <a:custGeom>
                  <a:avLst/>
                  <a:gdLst>
                    <a:gd name="T0" fmla="*/ 170 w 208"/>
                    <a:gd name="T1" fmla="*/ 101 h 159"/>
                    <a:gd name="T2" fmla="*/ 188 w 208"/>
                    <a:gd name="T3" fmla="*/ 93 h 159"/>
                    <a:gd name="T4" fmla="*/ 208 w 208"/>
                    <a:gd name="T5" fmla="*/ 61 h 159"/>
                    <a:gd name="T6" fmla="*/ 192 w 208"/>
                    <a:gd name="T7" fmla="*/ 13 h 159"/>
                    <a:gd name="T8" fmla="*/ 174 w 208"/>
                    <a:gd name="T9" fmla="*/ 7 h 159"/>
                    <a:gd name="T10" fmla="*/ 168 w 208"/>
                    <a:gd name="T11" fmla="*/ 5 h 159"/>
                    <a:gd name="T12" fmla="*/ 138 w 208"/>
                    <a:gd name="T13" fmla="*/ 13 h 159"/>
                    <a:gd name="T14" fmla="*/ 126 w 208"/>
                    <a:gd name="T15" fmla="*/ 17 h 159"/>
                    <a:gd name="T16" fmla="*/ 62 w 208"/>
                    <a:gd name="T17" fmla="*/ 5 h 159"/>
                    <a:gd name="T18" fmla="*/ 0 w 208"/>
                    <a:gd name="T19" fmla="*/ 15 h 159"/>
                    <a:gd name="T20" fmla="*/ 8 w 208"/>
                    <a:gd name="T21" fmla="*/ 33 h 159"/>
                    <a:gd name="T22" fmla="*/ 10 w 208"/>
                    <a:gd name="T23" fmla="*/ 39 h 159"/>
                    <a:gd name="T24" fmla="*/ 34 w 208"/>
                    <a:gd name="T25" fmla="*/ 105 h 159"/>
                    <a:gd name="T26" fmla="*/ 42 w 208"/>
                    <a:gd name="T27" fmla="*/ 117 h 159"/>
                    <a:gd name="T28" fmla="*/ 54 w 208"/>
                    <a:gd name="T29" fmla="*/ 159 h 159"/>
                    <a:gd name="T30" fmla="*/ 92 w 208"/>
                    <a:gd name="T31" fmla="*/ 157 h 159"/>
                    <a:gd name="T32" fmla="*/ 110 w 208"/>
                    <a:gd name="T33" fmla="*/ 129 h 159"/>
                    <a:gd name="T34" fmla="*/ 160 w 208"/>
                    <a:gd name="T35" fmla="*/ 119 h 159"/>
                    <a:gd name="T36" fmla="*/ 170 w 208"/>
                    <a:gd name="T37" fmla="*/ 101 h 159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0" t="0" r="r" b="b"/>
                  <a:pathLst>
                    <a:path w="208" h="159">
                      <a:moveTo>
                        <a:pt x="170" y="101"/>
                      </a:moveTo>
                      <a:cubicBezTo>
                        <a:pt x="175" y="97"/>
                        <a:pt x="188" y="93"/>
                        <a:pt x="188" y="93"/>
                      </a:cubicBezTo>
                      <a:cubicBezTo>
                        <a:pt x="193" y="77"/>
                        <a:pt x="190" y="67"/>
                        <a:pt x="208" y="61"/>
                      </a:cubicBezTo>
                      <a:cubicBezTo>
                        <a:pt x="206" y="51"/>
                        <a:pt x="201" y="19"/>
                        <a:pt x="192" y="13"/>
                      </a:cubicBezTo>
                      <a:cubicBezTo>
                        <a:pt x="192" y="13"/>
                        <a:pt x="177" y="8"/>
                        <a:pt x="174" y="7"/>
                      </a:cubicBezTo>
                      <a:cubicBezTo>
                        <a:pt x="172" y="6"/>
                        <a:pt x="168" y="5"/>
                        <a:pt x="168" y="5"/>
                      </a:cubicBezTo>
                      <a:cubicBezTo>
                        <a:pt x="150" y="7"/>
                        <a:pt x="151" y="7"/>
                        <a:pt x="138" y="13"/>
                      </a:cubicBezTo>
                      <a:cubicBezTo>
                        <a:pt x="134" y="15"/>
                        <a:pt x="126" y="17"/>
                        <a:pt x="126" y="17"/>
                      </a:cubicBezTo>
                      <a:cubicBezTo>
                        <a:pt x="112" y="38"/>
                        <a:pt x="79" y="11"/>
                        <a:pt x="62" y="5"/>
                      </a:cubicBezTo>
                      <a:cubicBezTo>
                        <a:pt x="53" y="5"/>
                        <a:pt x="10" y="0"/>
                        <a:pt x="0" y="15"/>
                      </a:cubicBezTo>
                      <a:cubicBezTo>
                        <a:pt x="6" y="25"/>
                        <a:pt x="3" y="19"/>
                        <a:pt x="8" y="33"/>
                      </a:cubicBezTo>
                      <a:cubicBezTo>
                        <a:pt x="9" y="35"/>
                        <a:pt x="10" y="39"/>
                        <a:pt x="10" y="39"/>
                      </a:cubicBezTo>
                      <a:cubicBezTo>
                        <a:pt x="6" y="57"/>
                        <a:pt x="13" y="98"/>
                        <a:pt x="34" y="105"/>
                      </a:cubicBezTo>
                      <a:cubicBezTo>
                        <a:pt x="40" y="124"/>
                        <a:pt x="30" y="96"/>
                        <a:pt x="42" y="117"/>
                      </a:cubicBezTo>
                      <a:cubicBezTo>
                        <a:pt x="49" y="130"/>
                        <a:pt x="45" y="146"/>
                        <a:pt x="54" y="159"/>
                      </a:cubicBezTo>
                      <a:cubicBezTo>
                        <a:pt x="67" y="158"/>
                        <a:pt x="79" y="159"/>
                        <a:pt x="92" y="157"/>
                      </a:cubicBezTo>
                      <a:cubicBezTo>
                        <a:pt x="104" y="155"/>
                        <a:pt x="99" y="135"/>
                        <a:pt x="110" y="129"/>
                      </a:cubicBezTo>
                      <a:cubicBezTo>
                        <a:pt x="125" y="121"/>
                        <a:pt x="144" y="120"/>
                        <a:pt x="160" y="119"/>
                      </a:cubicBezTo>
                      <a:cubicBezTo>
                        <a:pt x="162" y="112"/>
                        <a:pt x="162" y="101"/>
                        <a:pt x="170" y="101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87" name="Freeform 74"/>
                <p:cNvSpPr>
                  <a:spLocks/>
                </p:cNvSpPr>
                <p:nvPr/>
              </p:nvSpPr>
              <p:spPr bwMode="gray">
                <a:xfrm>
                  <a:off x="622" y="2789"/>
                  <a:ext cx="318" cy="295"/>
                </a:xfrm>
                <a:custGeom>
                  <a:avLst/>
                  <a:gdLst>
                    <a:gd name="T0" fmla="*/ 32 w 318"/>
                    <a:gd name="T1" fmla="*/ 33 h 295"/>
                    <a:gd name="T2" fmla="*/ 76 w 318"/>
                    <a:gd name="T3" fmla="*/ 11 h 295"/>
                    <a:gd name="T4" fmla="*/ 84 w 318"/>
                    <a:gd name="T5" fmla="*/ 3 h 295"/>
                    <a:gd name="T6" fmla="*/ 88 w 318"/>
                    <a:gd name="T7" fmla="*/ 9 h 295"/>
                    <a:gd name="T8" fmla="*/ 100 w 318"/>
                    <a:gd name="T9" fmla="*/ 17 h 295"/>
                    <a:gd name="T10" fmla="*/ 114 w 318"/>
                    <a:gd name="T11" fmla="*/ 33 h 295"/>
                    <a:gd name="T12" fmla="*/ 166 w 318"/>
                    <a:gd name="T13" fmla="*/ 73 h 295"/>
                    <a:gd name="T14" fmla="*/ 184 w 318"/>
                    <a:gd name="T15" fmla="*/ 79 h 295"/>
                    <a:gd name="T16" fmla="*/ 218 w 318"/>
                    <a:gd name="T17" fmla="*/ 81 h 295"/>
                    <a:gd name="T18" fmla="*/ 228 w 318"/>
                    <a:gd name="T19" fmla="*/ 97 h 295"/>
                    <a:gd name="T20" fmla="*/ 262 w 318"/>
                    <a:gd name="T21" fmla="*/ 101 h 295"/>
                    <a:gd name="T22" fmla="*/ 272 w 318"/>
                    <a:gd name="T23" fmla="*/ 111 h 295"/>
                    <a:gd name="T24" fmla="*/ 282 w 318"/>
                    <a:gd name="T25" fmla="*/ 149 h 295"/>
                    <a:gd name="T26" fmla="*/ 298 w 318"/>
                    <a:gd name="T27" fmla="*/ 165 h 295"/>
                    <a:gd name="T28" fmla="*/ 312 w 318"/>
                    <a:gd name="T29" fmla="*/ 195 h 295"/>
                    <a:gd name="T30" fmla="*/ 318 w 318"/>
                    <a:gd name="T31" fmla="*/ 213 h 295"/>
                    <a:gd name="T32" fmla="*/ 276 w 318"/>
                    <a:gd name="T33" fmla="*/ 245 h 295"/>
                    <a:gd name="T34" fmla="*/ 256 w 318"/>
                    <a:gd name="T35" fmla="*/ 255 h 295"/>
                    <a:gd name="T36" fmla="*/ 182 w 318"/>
                    <a:gd name="T37" fmla="*/ 261 h 295"/>
                    <a:gd name="T38" fmla="*/ 160 w 318"/>
                    <a:gd name="T39" fmla="*/ 295 h 295"/>
                    <a:gd name="T40" fmla="*/ 136 w 318"/>
                    <a:gd name="T41" fmla="*/ 237 h 295"/>
                    <a:gd name="T42" fmla="*/ 102 w 318"/>
                    <a:gd name="T43" fmla="*/ 201 h 295"/>
                    <a:gd name="T44" fmla="*/ 76 w 318"/>
                    <a:gd name="T45" fmla="*/ 169 h 295"/>
                    <a:gd name="T46" fmla="*/ 82 w 318"/>
                    <a:gd name="T47" fmla="*/ 143 h 295"/>
                    <a:gd name="T48" fmla="*/ 70 w 318"/>
                    <a:gd name="T49" fmla="*/ 127 h 295"/>
                    <a:gd name="T50" fmla="*/ 52 w 318"/>
                    <a:gd name="T51" fmla="*/ 111 h 295"/>
                    <a:gd name="T52" fmla="*/ 12 w 318"/>
                    <a:gd name="T53" fmla="*/ 83 h 295"/>
                    <a:gd name="T54" fmla="*/ 0 w 318"/>
                    <a:gd name="T55" fmla="*/ 65 h 295"/>
                    <a:gd name="T56" fmla="*/ 12 w 318"/>
                    <a:gd name="T57" fmla="*/ 61 h 295"/>
                    <a:gd name="T58" fmla="*/ 32 w 318"/>
                    <a:gd name="T59" fmla="*/ 33 h 295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318" h="295">
                      <a:moveTo>
                        <a:pt x="32" y="33"/>
                      </a:moveTo>
                      <a:cubicBezTo>
                        <a:pt x="49" y="29"/>
                        <a:pt x="61" y="21"/>
                        <a:pt x="76" y="11"/>
                      </a:cubicBezTo>
                      <a:cubicBezTo>
                        <a:pt x="77" y="8"/>
                        <a:pt x="78" y="0"/>
                        <a:pt x="84" y="3"/>
                      </a:cubicBezTo>
                      <a:cubicBezTo>
                        <a:pt x="86" y="4"/>
                        <a:pt x="86" y="7"/>
                        <a:pt x="88" y="9"/>
                      </a:cubicBezTo>
                      <a:cubicBezTo>
                        <a:pt x="92" y="12"/>
                        <a:pt x="100" y="17"/>
                        <a:pt x="100" y="17"/>
                      </a:cubicBezTo>
                      <a:cubicBezTo>
                        <a:pt x="109" y="31"/>
                        <a:pt x="104" y="26"/>
                        <a:pt x="114" y="33"/>
                      </a:cubicBezTo>
                      <a:cubicBezTo>
                        <a:pt x="119" y="49"/>
                        <a:pt x="151" y="63"/>
                        <a:pt x="166" y="73"/>
                      </a:cubicBezTo>
                      <a:cubicBezTo>
                        <a:pt x="171" y="77"/>
                        <a:pt x="184" y="79"/>
                        <a:pt x="184" y="79"/>
                      </a:cubicBezTo>
                      <a:cubicBezTo>
                        <a:pt x="198" y="77"/>
                        <a:pt x="205" y="77"/>
                        <a:pt x="218" y="81"/>
                      </a:cubicBezTo>
                      <a:cubicBezTo>
                        <a:pt x="220" y="90"/>
                        <a:pt x="219" y="94"/>
                        <a:pt x="228" y="97"/>
                      </a:cubicBezTo>
                      <a:cubicBezTo>
                        <a:pt x="244" y="95"/>
                        <a:pt x="250" y="93"/>
                        <a:pt x="262" y="101"/>
                      </a:cubicBezTo>
                      <a:cubicBezTo>
                        <a:pt x="265" y="105"/>
                        <a:pt x="270" y="107"/>
                        <a:pt x="272" y="111"/>
                      </a:cubicBezTo>
                      <a:cubicBezTo>
                        <a:pt x="279" y="122"/>
                        <a:pt x="277" y="137"/>
                        <a:pt x="282" y="149"/>
                      </a:cubicBezTo>
                      <a:cubicBezTo>
                        <a:pt x="285" y="156"/>
                        <a:pt x="298" y="165"/>
                        <a:pt x="298" y="165"/>
                      </a:cubicBezTo>
                      <a:cubicBezTo>
                        <a:pt x="305" y="176"/>
                        <a:pt x="308" y="183"/>
                        <a:pt x="312" y="195"/>
                      </a:cubicBezTo>
                      <a:cubicBezTo>
                        <a:pt x="314" y="201"/>
                        <a:pt x="318" y="213"/>
                        <a:pt x="318" y="213"/>
                      </a:cubicBezTo>
                      <a:cubicBezTo>
                        <a:pt x="315" y="241"/>
                        <a:pt x="301" y="242"/>
                        <a:pt x="276" y="245"/>
                      </a:cubicBezTo>
                      <a:cubicBezTo>
                        <a:pt x="272" y="258"/>
                        <a:pt x="272" y="257"/>
                        <a:pt x="256" y="255"/>
                      </a:cubicBezTo>
                      <a:cubicBezTo>
                        <a:pt x="238" y="249"/>
                        <a:pt x="202" y="260"/>
                        <a:pt x="182" y="261"/>
                      </a:cubicBezTo>
                      <a:cubicBezTo>
                        <a:pt x="175" y="283"/>
                        <a:pt x="185" y="291"/>
                        <a:pt x="160" y="295"/>
                      </a:cubicBezTo>
                      <a:cubicBezTo>
                        <a:pt x="153" y="275"/>
                        <a:pt x="161" y="245"/>
                        <a:pt x="136" y="237"/>
                      </a:cubicBezTo>
                      <a:cubicBezTo>
                        <a:pt x="124" y="220"/>
                        <a:pt x="125" y="205"/>
                        <a:pt x="102" y="201"/>
                      </a:cubicBezTo>
                      <a:cubicBezTo>
                        <a:pt x="86" y="185"/>
                        <a:pt x="98" y="180"/>
                        <a:pt x="76" y="169"/>
                      </a:cubicBezTo>
                      <a:cubicBezTo>
                        <a:pt x="72" y="158"/>
                        <a:pt x="79" y="153"/>
                        <a:pt x="82" y="143"/>
                      </a:cubicBezTo>
                      <a:cubicBezTo>
                        <a:pt x="79" y="135"/>
                        <a:pt x="77" y="132"/>
                        <a:pt x="70" y="127"/>
                      </a:cubicBezTo>
                      <a:cubicBezTo>
                        <a:pt x="68" y="120"/>
                        <a:pt x="59" y="113"/>
                        <a:pt x="52" y="111"/>
                      </a:cubicBezTo>
                      <a:cubicBezTo>
                        <a:pt x="48" y="98"/>
                        <a:pt x="23" y="91"/>
                        <a:pt x="12" y="83"/>
                      </a:cubicBezTo>
                      <a:cubicBezTo>
                        <a:pt x="8" y="77"/>
                        <a:pt x="0" y="65"/>
                        <a:pt x="0" y="65"/>
                      </a:cubicBezTo>
                      <a:cubicBezTo>
                        <a:pt x="4" y="64"/>
                        <a:pt x="8" y="62"/>
                        <a:pt x="12" y="61"/>
                      </a:cubicBezTo>
                      <a:cubicBezTo>
                        <a:pt x="17" y="59"/>
                        <a:pt x="8" y="21"/>
                        <a:pt x="32" y="33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88" name="Freeform 75"/>
                <p:cNvSpPr>
                  <a:spLocks/>
                </p:cNvSpPr>
                <p:nvPr/>
              </p:nvSpPr>
              <p:spPr bwMode="gray">
                <a:xfrm>
                  <a:off x="930" y="2920"/>
                  <a:ext cx="422" cy="368"/>
                </a:xfrm>
                <a:custGeom>
                  <a:avLst/>
                  <a:gdLst>
                    <a:gd name="T0" fmla="*/ 374 w 422"/>
                    <a:gd name="T1" fmla="*/ 228 h 368"/>
                    <a:gd name="T2" fmla="*/ 312 w 422"/>
                    <a:gd name="T3" fmla="*/ 246 h 368"/>
                    <a:gd name="T4" fmla="*/ 294 w 422"/>
                    <a:gd name="T5" fmla="*/ 244 h 368"/>
                    <a:gd name="T6" fmla="*/ 276 w 422"/>
                    <a:gd name="T7" fmla="*/ 226 h 368"/>
                    <a:gd name="T8" fmla="*/ 260 w 422"/>
                    <a:gd name="T9" fmla="*/ 230 h 368"/>
                    <a:gd name="T10" fmla="*/ 244 w 422"/>
                    <a:gd name="T11" fmla="*/ 200 h 368"/>
                    <a:gd name="T12" fmla="*/ 236 w 422"/>
                    <a:gd name="T13" fmla="*/ 188 h 368"/>
                    <a:gd name="T14" fmla="*/ 250 w 422"/>
                    <a:gd name="T15" fmla="*/ 178 h 368"/>
                    <a:gd name="T16" fmla="*/ 236 w 422"/>
                    <a:gd name="T17" fmla="*/ 160 h 368"/>
                    <a:gd name="T18" fmla="*/ 230 w 422"/>
                    <a:gd name="T19" fmla="*/ 156 h 368"/>
                    <a:gd name="T20" fmla="*/ 196 w 422"/>
                    <a:gd name="T21" fmla="*/ 50 h 368"/>
                    <a:gd name="T22" fmla="*/ 164 w 422"/>
                    <a:gd name="T23" fmla="*/ 0 h 368"/>
                    <a:gd name="T24" fmla="*/ 140 w 422"/>
                    <a:gd name="T25" fmla="*/ 28 h 368"/>
                    <a:gd name="T26" fmla="*/ 122 w 422"/>
                    <a:gd name="T27" fmla="*/ 38 h 368"/>
                    <a:gd name="T28" fmla="*/ 66 w 422"/>
                    <a:gd name="T29" fmla="*/ 62 h 368"/>
                    <a:gd name="T30" fmla="*/ 48 w 422"/>
                    <a:gd name="T31" fmla="*/ 82 h 368"/>
                    <a:gd name="T32" fmla="*/ 0 w 422"/>
                    <a:gd name="T33" fmla="*/ 104 h 368"/>
                    <a:gd name="T34" fmla="*/ 18 w 422"/>
                    <a:gd name="T35" fmla="*/ 110 h 368"/>
                    <a:gd name="T36" fmla="*/ 26 w 422"/>
                    <a:gd name="T37" fmla="*/ 122 h 368"/>
                    <a:gd name="T38" fmla="*/ 30 w 422"/>
                    <a:gd name="T39" fmla="*/ 134 h 368"/>
                    <a:gd name="T40" fmla="*/ 76 w 422"/>
                    <a:gd name="T41" fmla="*/ 144 h 368"/>
                    <a:gd name="T42" fmla="*/ 78 w 422"/>
                    <a:gd name="T43" fmla="*/ 164 h 368"/>
                    <a:gd name="T44" fmla="*/ 94 w 422"/>
                    <a:gd name="T45" fmla="*/ 172 h 368"/>
                    <a:gd name="T46" fmla="*/ 130 w 422"/>
                    <a:gd name="T47" fmla="*/ 244 h 368"/>
                    <a:gd name="T48" fmla="*/ 158 w 422"/>
                    <a:gd name="T49" fmla="*/ 246 h 368"/>
                    <a:gd name="T50" fmla="*/ 160 w 422"/>
                    <a:gd name="T51" fmla="*/ 252 h 368"/>
                    <a:gd name="T52" fmla="*/ 178 w 422"/>
                    <a:gd name="T53" fmla="*/ 264 h 368"/>
                    <a:gd name="T54" fmla="*/ 200 w 422"/>
                    <a:gd name="T55" fmla="*/ 256 h 368"/>
                    <a:gd name="T56" fmla="*/ 220 w 422"/>
                    <a:gd name="T57" fmla="*/ 258 h 368"/>
                    <a:gd name="T58" fmla="*/ 232 w 422"/>
                    <a:gd name="T59" fmla="*/ 266 h 368"/>
                    <a:gd name="T60" fmla="*/ 242 w 422"/>
                    <a:gd name="T61" fmla="*/ 276 h 368"/>
                    <a:gd name="T62" fmla="*/ 254 w 422"/>
                    <a:gd name="T63" fmla="*/ 280 h 368"/>
                    <a:gd name="T64" fmla="*/ 298 w 422"/>
                    <a:gd name="T65" fmla="*/ 292 h 368"/>
                    <a:gd name="T66" fmla="*/ 308 w 422"/>
                    <a:gd name="T67" fmla="*/ 340 h 368"/>
                    <a:gd name="T68" fmla="*/ 334 w 422"/>
                    <a:gd name="T69" fmla="*/ 362 h 368"/>
                    <a:gd name="T70" fmla="*/ 360 w 422"/>
                    <a:gd name="T71" fmla="*/ 352 h 368"/>
                    <a:gd name="T72" fmla="*/ 362 w 422"/>
                    <a:gd name="T73" fmla="*/ 358 h 368"/>
                    <a:gd name="T74" fmla="*/ 374 w 422"/>
                    <a:gd name="T75" fmla="*/ 362 h 368"/>
                    <a:gd name="T76" fmla="*/ 386 w 422"/>
                    <a:gd name="T77" fmla="*/ 354 h 368"/>
                    <a:gd name="T78" fmla="*/ 398 w 422"/>
                    <a:gd name="T79" fmla="*/ 358 h 368"/>
                    <a:gd name="T80" fmla="*/ 416 w 422"/>
                    <a:gd name="T81" fmla="*/ 368 h 368"/>
                    <a:gd name="T82" fmla="*/ 418 w 422"/>
                    <a:gd name="T83" fmla="*/ 350 h 368"/>
                    <a:gd name="T84" fmla="*/ 422 w 422"/>
                    <a:gd name="T85" fmla="*/ 338 h 368"/>
                    <a:gd name="T86" fmla="*/ 406 w 422"/>
                    <a:gd name="T87" fmla="*/ 320 h 368"/>
                    <a:gd name="T88" fmla="*/ 394 w 422"/>
                    <a:gd name="T89" fmla="*/ 312 h 368"/>
                    <a:gd name="T90" fmla="*/ 386 w 422"/>
                    <a:gd name="T91" fmla="*/ 294 h 368"/>
                    <a:gd name="T92" fmla="*/ 374 w 422"/>
                    <a:gd name="T93" fmla="*/ 228 h 368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422" h="368">
                      <a:moveTo>
                        <a:pt x="374" y="228"/>
                      </a:moveTo>
                      <a:cubicBezTo>
                        <a:pt x="333" y="231"/>
                        <a:pt x="341" y="236"/>
                        <a:pt x="312" y="246"/>
                      </a:cubicBezTo>
                      <a:cubicBezTo>
                        <a:pt x="306" y="245"/>
                        <a:pt x="300" y="246"/>
                        <a:pt x="294" y="244"/>
                      </a:cubicBezTo>
                      <a:cubicBezTo>
                        <a:pt x="292" y="243"/>
                        <a:pt x="287" y="230"/>
                        <a:pt x="276" y="226"/>
                      </a:cubicBezTo>
                      <a:cubicBezTo>
                        <a:pt x="266" y="229"/>
                        <a:pt x="270" y="237"/>
                        <a:pt x="260" y="230"/>
                      </a:cubicBezTo>
                      <a:cubicBezTo>
                        <a:pt x="256" y="219"/>
                        <a:pt x="251" y="209"/>
                        <a:pt x="244" y="200"/>
                      </a:cubicBezTo>
                      <a:cubicBezTo>
                        <a:pt x="241" y="196"/>
                        <a:pt x="236" y="188"/>
                        <a:pt x="236" y="188"/>
                      </a:cubicBezTo>
                      <a:cubicBezTo>
                        <a:pt x="250" y="183"/>
                        <a:pt x="247" y="188"/>
                        <a:pt x="250" y="178"/>
                      </a:cubicBezTo>
                      <a:cubicBezTo>
                        <a:pt x="247" y="163"/>
                        <a:pt x="251" y="170"/>
                        <a:pt x="236" y="160"/>
                      </a:cubicBezTo>
                      <a:cubicBezTo>
                        <a:pt x="234" y="159"/>
                        <a:pt x="230" y="156"/>
                        <a:pt x="230" y="156"/>
                      </a:cubicBezTo>
                      <a:cubicBezTo>
                        <a:pt x="209" y="124"/>
                        <a:pt x="206" y="87"/>
                        <a:pt x="196" y="50"/>
                      </a:cubicBezTo>
                      <a:cubicBezTo>
                        <a:pt x="190" y="29"/>
                        <a:pt x="187" y="8"/>
                        <a:pt x="164" y="0"/>
                      </a:cubicBezTo>
                      <a:cubicBezTo>
                        <a:pt x="145" y="4"/>
                        <a:pt x="153" y="17"/>
                        <a:pt x="140" y="28"/>
                      </a:cubicBezTo>
                      <a:cubicBezTo>
                        <a:pt x="135" y="32"/>
                        <a:pt x="122" y="38"/>
                        <a:pt x="122" y="38"/>
                      </a:cubicBezTo>
                      <a:cubicBezTo>
                        <a:pt x="104" y="65"/>
                        <a:pt x="108" y="60"/>
                        <a:pt x="66" y="62"/>
                      </a:cubicBezTo>
                      <a:cubicBezTo>
                        <a:pt x="58" y="68"/>
                        <a:pt x="57" y="76"/>
                        <a:pt x="48" y="82"/>
                      </a:cubicBezTo>
                      <a:cubicBezTo>
                        <a:pt x="39" y="96"/>
                        <a:pt x="15" y="99"/>
                        <a:pt x="0" y="104"/>
                      </a:cubicBezTo>
                      <a:cubicBezTo>
                        <a:pt x="6" y="106"/>
                        <a:pt x="18" y="110"/>
                        <a:pt x="18" y="110"/>
                      </a:cubicBezTo>
                      <a:cubicBezTo>
                        <a:pt x="21" y="114"/>
                        <a:pt x="23" y="118"/>
                        <a:pt x="26" y="122"/>
                      </a:cubicBezTo>
                      <a:cubicBezTo>
                        <a:pt x="28" y="126"/>
                        <a:pt x="26" y="132"/>
                        <a:pt x="30" y="134"/>
                      </a:cubicBezTo>
                      <a:cubicBezTo>
                        <a:pt x="45" y="144"/>
                        <a:pt x="57" y="143"/>
                        <a:pt x="76" y="144"/>
                      </a:cubicBezTo>
                      <a:cubicBezTo>
                        <a:pt x="77" y="151"/>
                        <a:pt x="74" y="158"/>
                        <a:pt x="78" y="164"/>
                      </a:cubicBezTo>
                      <a:cubicBezTo>
                        <a:pt x="81" y="169"/>
                        <a:pt x="94" y="172"/>
                        <a:pt x="94" y="172"/>
                      </a:cubicBezTo>
                      <a:cubicBezTo>
                        <a:pt x="108" y="193"/>
                        <a:pt x="103" y="235"/>
                        <a:pt x="130" y="244"/>
                      </a:cubicBezTo>
                      <a:cubicBezTo>
                        <a:pt x="137" y="233"/>
                        <a:pt x="152" y="234"/>
                        <a:pt x="158" y="246"/>
                      </a:cubicBezTo>
                      <a:cubicBezTo>
                        <a:pt x="159" y="248"/>
                        <a:pt x="159" y="251"/>
                        <a:pt x="160" y="252"/>
                      </a:cubicBezTo>
                      <a:cubicBezTo>
                        <a:pt x="165" y="257"/>
                        <a:pt x="178" y="264"/>
                        <a:pt x="178" y="264"/>
                      </a:cubicBezTo>
                      <a:cubicBezTo>
                        <a:pt x="187" y="262"/>
                        <a:pt x="192" y="261"/>
                        <a:pt x="200" y="256"/>
                      </a:cubicBezTo>
                      <a:cubicBezTo>
                        <a:pt x="207" y="257"/>
                        <a:pt x="214" y="256"/>
                        <a:pt x="220" y="258"/>
                      </a:cubicBezTo>
                      <a:cubicBezTo>
                        <a:pt x="225" y="259"/>
                        <a:pt x="232" y="266"/>
                        <a:pt x="232" y="266"/>
                      </a:cubicBezTo>
                      <a:cubicBezTo>
                        <a:pt x="236" y="271"/>
                        <a:pt x="236" y="273"/>
                        <a:pt x="242" y="276"/>
                      </a:cubicBezTo>
                      <a:cubicBezTo>
                        <a:pt x="246" y="278"/>
                        <a:pt x="254" y="280"/>
                        <a:pt x="254" y="280"/>
                      </a:cubicBezTo>
                      <a:cubicBezTo>
                        <a:pt x="282" y="275"/>
                        <a:pt x="278" y="285"/>
                        <a:pt x="298" y="292"/>
                      </a:cubicBezTo>
                      <a:cubicBezTo>
                        <a:pt x="304" y="300"/>
                        <a:pt x="303" y="326"/>
                        <a:pt x="308" y="340"/>
                      </a:cubicBezTo>
                      <a:cubicBezTo>
                        <a:pt x="312" y="351"/>
                        <a:pt x="334" y="362"/>
                        <a:pt x="334" y="362"/>
                      </a:cubicBezTo>
                      <a:cubicBezTo>
                        <a:pt x="345" y="345"/>
                        <a:pt x="337" y="349"/>
                        <a:pt x="360" y="352"/>
                      </a:cubicBezTo>
                      <a:cubicBezTo>
                        <a:pt x="361" y="354"/>
                        <a:pt x="360" y="357"/>
                        <a:pt x="362" y="358"/>
                      </a:cubicBezTo>
                      <a:cubicBezTo>
                        <a:pt x="365" y="360"/>
                        <a:pt x="374" y="362"/>
                        <a:pt x="374" y="362"/>
                      </a:cubicBezTo>
                      <a:cubicBezTo>
                        <a:pt x="378" y="359"/>
                        <a:pt x="382" y="357"/>
                        <a:pt x="386" y="354"/>
                      </a:cubicBezTo>
                      <a:cubicBezTo>
                        <a:pt x="390" y="352"/>
                        <a:pt x="398" y="358"/>
                        <a:pt x="398" y="358"/>
                      </a:cubicBezTo>
                      <a:cubicBezTo>
                        <a:pt x="403" y="363"/>
                        <a:pt x="416" y="368"/>
                        <a:pt x="416" y="368"/>
                      </a:cubicBezTo>
                      <a:cubicBezTo>
                        <a:pt x="417" y="362"/>
                        <a:pt x="417" y="356"/>
                        <a:pt x="418" y="350"/>
                      </a:cubicBezTo>
                      <a:cubicBezTo>
                        <a:pt x="419" y="346"/>
                        <a:pt x="422" y="338"/>
                        <a:pt x="422" y="338"/>
                      </a:cubicBezTo>
                      <a:cubicBezTo>
                        <a:pt x="416" y="332"/>
                        <a:pt x="412" y="325"/>
                        <a:pt x="406" y="320"/>
                      </a:cubicBezTo>
                      <a:cubicBezTo>
                        <a:pt x="402" y="317"/>
                        <a:pt x="394" y="312"/>
                        <a:pt x="394" y="312"/>
                      </a:cubicBezTo>
                      <a:cubicBezTo>
                        <a:pt x="392" y="305"/>
                        <a:pt x="388" y="301"/>
                        <a:pt x="386" y="294"/>
                      </a:cubicBezTo>
                      <a:cubicBezTo>
                        <a:pt x="390" y="269"/>
                        <a:pt x="393" y="247"/>
                        <a:pt x="374" y="228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229" name="Group 76"/>
              <p:cNvGrpSpPr>
                <a:grpSpLocks/>
              </p:cNvGrpSpPr>
              <p:nvPr/>
            </p:nvGrpSpPr>
            <p:grpSpPr bwMode="auto">
              <a:xfrm>
                <a:off x="809625" y="3460750"/>
                <a:ext cx="1195388" cy="996950"/>
                <a:chOff x="313" y="2238"/>
                <a:chExt cx="783" cy="654"/>
              </a:xfrm>
              <a:grpFill/>
            </p:grpSpPr>
            <p:sp>
              <p:nvSpPr>
                <p:cNvPr id="258" name="Freeform 77"/>
                <p:cNvSpPr>
                  <a:spLocks/>
                </p:cNvSpPr>
                <p:nvPr/>
              </p:nvSpPr>
              <p:spPr bwMode="gray">
                <a:xfrm>
                  <a:off x="814" y="2406"/>
                  <a:ext cx="282" cy="161"/>
                </a:xfrm>
                <a:custGeom>
                  <a:avLst/>
                  <a:gdLst>
                    <a:gd name="T0" fmla="*/ 178 w 282"/>
                    <a:gd name="T1" fmla="*/ 34 h 161"/>
                    <a:gd name="T2" fmla="*/ 196 w 282"/>
                    <a:gd name="T3" fmla="*/ 42 h 161"/>
                    <a:gd name="T4" fmla="*/ 220 w 282"/>
                    <a:gd name="T5" fmla="*/ 58 h 161"/>
                    <a:gd name="T6" fmla="*/ 236 w 282"/>
                    <a:gd name="T7" fmla="*/ 72 h 161"/>
                    <a:gd name="T8" fmla="*/ 248 w 282"/>
                    <a:gd name="T9" fmla="*/ 76 h 161"/>
                    <a:gd name="T10" fmla="*/ 272 w 282"/>
                    <a:gd name="T11" fmla="*/ 84 h 161"/>
                    <a:gd name="T12" fmla="*/ 282 w 282"/>
                    <a:gd name="T13" fmla="*/ 114 h 161"/>
                    <a:gd name="T14" fmla="*/ 244 w 282"/>
                    <a:gd name="T15" fmla="*/ 140 h 161"/>
                    <a:gd name="T16" fmla="*/ 228 w 282"/>
                    <a:gd name="T17" fmla="*/ 154 h 161"/>
                    <a:gd name="T18" fmla="*/ 210 w 282"/>
                    <a:gd name="T19" fmla="*/ 160 h 161"/>
                    <a:gd name="T20" fmla="*/ 186 w 282"/>
                    <a:gd name="T21" fmla="*/ 154 h 161"/>
                    <a:gd name="T22" fmla="*/ 184 w 282"/>
                    <a:gd name="T23" fmla="*/ 148 h 161"/>
                    <a:gd name="T24" fmla="*/ 172 w 282"/>
                    <a:gd name="T25" fmla="*/ 144 h 161"/>
                    <a:gd name="T26" fmla="*/ 142 w 282"/>
                    <a:gd name="T27" fmla="*/ 154 h 161"/>
                    <a:gd name="T28" fmla="*/ 106 w 282"/>
                    <a:gd name="T29" fmla="*/ 140 h 161"/>
                    <a:gd name="T30" fmla="*/ 96 w 282"/>
                    <a:gd name="T31" fmla="*/ 122 h 161"/>
                    <a:gd name="T32" fmla="*/ 84 w 282"/>
                    <a:gd name="T33" fmla="*/ 102 h 161"/>
                    <a:gd name="T34" fmla="*/ 72 w 282"/>
                    <a:gd name="T35" fmla="*/ 94 h 161"/>
                    <a:gd name="T36" fmla="*/ 50 w 282"/>
                    <a:gd name="T37" fmla="*/ 80 h 161"/>
                    <a:gd name="T38" fmla="*/ 14 w 282"/>
                    <a:gd name="T39" fmla="*/ 82 h 161"/>
                    <a:gd name="T40" fmla="*/ 0 w 282"/>
                    <a:gd name="T41" fmla="*/ 66 h 161"/>
                    <a:gd name="T42" fmla="*/ 14 w 282"/>
                    <a:gd name="T43" fmla="*/ 54 h 161"/>
                    <a:gd name="T44" fmla="*/ 50 w 282"/>
                    <a:gd name="T45" fmla="*/ 32 h 161"/>
                    <a:gd name="T46" fmla="*/ 68 w 282"/>
                    <a:gd name="T47" fmla="*/ 24 h 161"/>
                    <a:gd name="T48" fmla="*/ 86 w 282"/>
                    <a:gd name="T49" fmla="*/ 6 h 161"/>
                    <a:gd name="T50" fmla="*/ 116 w 282"/>
                    <a:gd name="T51" fmla="*/ 0 h 161"/>
                    <a:gd name="T52" fmla="*/ 148 w 282"/>
                    <a:gd name="T53" fmla="*/ 6 h 161"/>
                    <a:gd name="T54" fmla="*/ 166 w 282"/>
                    <a:gd name="T55" fmla="*/ 16 h 161"/>
                    <a:gd name="T56" fmla="*/ 178 w 282"/>
                    <a:gd name="T57" fmla="*/ 34 h 161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0" t="0" r="r" b="b"/>
                  <a:pathLst>
                    <a:path w="282" h="161">
                      <a:moveTo>
                        <a:pt x="178" y="34"/>
                      </a:moveTo>
                      <a:cubicBezTo>
                        <a:pt x="185" y="36"/>
                        <a:pt x="189" y="40"/>
                        <a:pt x="196" y="42"/>
                      </a:cubicBezTo>
                      <a:cubicBezTo>
                        <a:pt x="204" y="50"/>
                        <a:pt x="211" y="52"/>
                        <a:pt x="220" y="58"/>
                      </a:cubicBezTo>
                      <a:cubicBezTo>
                        <a:pt x="227" y="68"/>
                        <a:pt x="222" y="63"/>
                        <a:pt x="236" y="72"/>
                      </a:cubicBezTo>
                      <a:cubicBezTo>
                        <a:pt x="240" y="74"/>
                        <a:pt x="248" y="76"/>
                        <a:pt x="248" y="76"/>
                      </a:cubicBezTo>
                      <a:cubicBezTo>
                        <a:pt x="253" y="91"/>
                        <a:pt x="246" y="76"/>
                        <a:pt x="272" y="84"/>
                      </a:cubicBezTo>
                      <a:cubicBezTo>
                        <a:pt x="280" y="86"/>
                        <a:pt x="280" y="108"/>
                        <a:pt x="282" y="114"/>
                      </a:cubicBezTo>
                      <a:cubicBezTo>
                        <a:pt x="279" y="150"/>
                        <a:pt x="279" y="137"/>
                        <a:pt x="244" y="140"/>
                      </a:cubicBezTo>
                      <a:cubicBezTo>
                        <a:pt x="238" y="144"/>
                        <a:pt x="235" y="151"/>
                        <a:pt x="228" y="154"/>
                      </a:cubicBezTo>
                      <a:cubicBezTo>
                        <a:pt x="222" y="157"/>
                        <a:pt x="210" y="160"/>
                        <a:pt x="210" y="160"/>
                      </a:cubicBezTo>
                      <a:cubicBezTo>
                        <a:pt x="204" y="159"/>
                        <a:pt x="191" y="161"/>
                        <a:pt x="186" y="154"/>
                      </a:cubicBezTo>
                      <a:cubicBezTo>
                        <a:pt x="185" y="152"/>
                        <a:pt x="186" y="149"/>
                        <a:pt x="184" y="148"/>
                      </a:cubicBezTo>
                      <a:cubicBezTo>
                        <a:pt x="181" y="146"/>
                        <a:pt x="172" y="144"/>
                        <a:pt x="172" y="144"/>
                      </a:cubicBezTo>
                      <a:cubicBezTo>
                        <a:pt x="161" y="146"/>
                        <a:pt x="153" y="151"/>
                        <a:pt x="142" y="154"/>
                      </a:cubicBezTo>
                      <a:cubicBezTo>
                        <a:pt x="119" y="151"/>
                        <a:pt x="124" y="146"/>
                        <a:pt x="106" y="140"/>
                      </a:cubicBezTo>
                      <a:cubicBezTo>
                        <a:pt x="103" y="132"/>
                        <a:pt x="104" y="127"/>
                        <a:pt x="96" y="122"/>
                      </a:cubicBezTo>
                      <a:cubicBezTo>
                        <a:pt x="92" y="115"/>
                        <a:pt x="90" y="107"/>
                        <a:pt x="84" y="102"/>
                      </a:cubicBezTo>
                      <a:cubicBezTo>
                        <a:pt x="80" y="99"/>
                        <a:pt x="72" y="94"/>
                        <a:pt x="72" y="94"/>
                      </a:cubicBezTo>
                      <a:cubicBezTo>
                        <a:pt x="67" y="87"/>
                        <a:pt x="59" y="83"/>
                        <a:pt x="50" y="80"/>
                      </a:cubicBezTo>
                      <a:cubicBezTo>
                        <a:pt x="40" y="81"/>
                        <a:pt x="24" y="85"/>
                        <a:pt x="14" y="82"/>
                      </a:cubicBezTo>
                      <a:cubicBezTo>
                        <a:pt x="5" y="68"/>
                        <a:pt x="10" y="73"/>
                        <a:pt x="0" y="66"/>
                      </a:cubicBezTo>
                      <a:cubicBezTo>
                        <a:pt x="3" y="58"/>
                        <a:pt x="6" y="57"/>
                        <a:pt x="14" y="54"/>
                      </a:cubicBezTo>
                      <a:cubicBezTo>
                        <a:pt x="23" y="41"/>
                        <a:pt x="37" y="38"/>
                        <a:pt x="50" y="32"/>
                      </a:cubicBezTo>
                      <a:cubicBezTo>
                        <a:pt x="56" y="29"/>
                        <a:pt x="68" y="24"/>
                        <a:pt x="68" y="24"/>
                      </a:cubicBezTo>
                      <a:cubicBezTo>
                        <a:pt x="71" y="14"/>
                        <a:pt x="76" y="9"/>
                        <a:pt x="86" y="6"/>
                      </a:cubicBezTo>
                      <a:cubicBezTo>
                        <a:pt x="98" y="10"/>
                        <a:pt x="105" y="4"/>
                        <a:pt x="116" y="0"/>
                      </a:cubicBezTo>
                      <a:cubicBezTo>
                        <a:pt x="129" y="1"/>
                        <a:pt x="136" y="3"/>
                        <a:pt x="148" y="6"/>
                      </a:cubicBezTo>
                      <a:cubicBezTo>
                        <a:pt x="154" y="10"/>
                        <a:pt x="160" y="12"/>
                        <a:pt x="166" y="16"/>
                      </a:cubicBezTo>
                      <a:cubicBezTo>
                        <a:pt x="168" y="23"/>
                        <a:pt x="178" y="26"/>
                        <a:pt x="178" y="34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59" name="Freeform 78"/>
                <p:cNvSpPr>
                  <a:spLocks/>
                </p:cNvSpPr>
                <p:nvPr/>
              </p:nvSpPr>
              <p:spPr bwMode="gray">
                <a:xfrm>
                  <a:off x="725" y="2330"/>
                  <a:ext cx="172" cy="144"/>
                </a:xfrm>
                <a:custGeom>
                  <a:avLst/>
                  <a:gdLst>
                    <a:gd name="T0" fmla="*/ 61 w 172"/>
                    <a:gd name="T1" fmla="*/ 0 h 144"/>
                    <a:gd name="T2" fmla="*/ 97 w 172"/>
                    <a:gd name="T3" fmla="*/ 18 h 144"/>
                    <a:gd name="T4" fmla="*/ 117 w 172"/>
                    <a:gd name="T5" fmla="*/ 26 h 144"/>
                    <a:gd name="T6" fmla="*/ 137 w 172"/>
                    <a:gd name="T7" fmla="*/ 46 h 144"/>
                    <a:gd name="T8" fmla="*/ 165 w 172"/>
                    <a:gd name="T9" fmla="*/ 80 h 144"/>
                    <a:gd name="T10" fmla="*/ 117 w 172"/>
                    <a:gd name="T11" fmla="*/ 122 h 144"/>
                    <a:gd name="T12" fmla="*/ 93 w 172"/>
                    <a:gd name="T13" fmla="*/ 138 h 144"/>
                    <a:gd name="T14" fmla="*/ 31 w 172"/>
                    <a:gd name="T15" fmla="*/ 144 h 144"/>
                    <a:gd name="T16" fmla="*/ 7 w 172"/>
                    <a:gd name="T17" fmla="*/ 136 h 144"/>
                    <a:gd name="T18" fmla="*/ 17 w 172"/>
                    <a:gd name="T19" fmla="*/ 96 h 144"/>
                    <a:gd name="T20" fmla="*/ 27 w 172"/>
                    <a:gd name="T21" fmla="*/ 68 h 144"/>
                    <a:gd name="T22" fmla="*/ 21 w 172"/>
                    <a:gd name="T23" fmla="*/ 50 h 144"/>
                    <a:gd name="T24" fmla="*/ 47 w 172"/>
                    <a:gd name="T25" fmla="*/ 14 h 144"/>
                    <a:gd name="T26" fmla="*/ 61 w 172"/>
                    <a:gd name="T27" fmla="*/ 0 h 144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0" t="0" r="r" b="b"/>
                  <a:pathLst>
                    <a:path w="172" h="144">
                      <a:moveTo>
                        <a:pt x="61" y="0"/>
                      </a:moveTo>
                      <a:cubicBezTo>
                        <a:pt x="73" y="8"/>
                        <a:pt x="84" y="13"/>
                        <a:pt x="97" y="18"/>
                      </a:cubicBezTo>
                      <a:cubicBezTo>
                        <a:pt x="104" y="21"/>
                        <a:pt x="117" y="26"/>
                        <a:pt x="117" y="26"/>
                      </a:cubicBezTo>
                      <a:cubicBezTo>
                        <a:pt x="122" y="33"/>
                        <a:pt x="130" y="41"/>
                        <a:pt x="137" y="46"/>
                      </a:cubicBezTo>
                      <a:cubicBezTo>
                        <a:pt x="146" y="60"/>
                        <a:pt x="154" y="69"/>
                        <a:pt x="165" y="80"/>
                      </a:cubicBezTo>
                      <a:cubicBezTo>
                        <a:pt x="172" y="106"/>
                        <a:pt x="135" y="113"/>
                        <a:pt x="117" y="122"/>
                      </a:cubicBezTo>
                      <a:cubicBezTo>
                        <a:pt x="108" y="127"/>
                        <a:pt x="103" y="135"/>
                        <a:pt x="93" y="138"/>
                      </a:cubicBezTo>
                      <a:cubicBezTo>
                        <a:pt x="72" y="136"/>
                        <a:pt x="49" y="132"/>
                        <a:pt x="31" y="144"/>
                      </a:cubicBezTo>
                      <a:cubicBezTo>
                        <a:pt x="22" y="142"/>
                        <a:pt x="15" y="139"/>
                        <a:pt x="7" y="136"/>
                      </a:cubicBezTo>
                      <a:cubicBezTo>
                        <a:pt x="2" y="122"/>
                        <a:pt x="0" y="102"/>
                        <a:pt x="17" y="96"/>
                      </a:cubicBezTo>
                      <a:cubicBezTo>
                        <a:pt x="31" y="82"/>
                        <a:pt x="31" y="88"/>
                        <a:pt x="27" y="68"/>
                      </a:cubicBezTo>
                      <a:cubicBezTo>
                        <a:pt x="26" y="62"/>
                        <a:pt x="21" y="50"/>
                        <a:pt x="21" y="50"/>
                      </a:cubicBezTo>
                      <a:cubicBezTo>
                        <a:pt x="31" y="40"/>
                        <a:pt x="36" y="23"/>
                        <a:pt x="47" y="14"/>
                      </a:cubicBezTo>
                      <a:cubicBezTo>
                        <a:pt x="55" y="7"/>
                        <a:pt x="58" y="12"/>
                        <a:pt x="61" y="0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60" name="Freeform 79"/>
                <p:cNvSpPr>
                  <a:spLocks/>
                </p:cNvSpPr>
                <p:nvPr/>
              </p:nvSpPr>
              <p:spPr bwMode="gray">
                <a:xfrm>
                  <a:off x="480" y="2238"/>
                  <a:ext cx="309" cy="210"/>
                </a:xfrm>
                <a:custGeom>
                  <a:avLst/>
                  <a:gdLst>
                    <a:gd name="T0" fmla="*/ 188 w 309"/>
                    <a:gd name="T1" fmla="*/ 22 h 210"/>
                    <a:gd name="T2" fmla="*/ 220 w 309"/>
                    <a:gd name="T3" fmla="*/ 44 h 210"/>
                    <a:gd name="T4" fmla="*/ 260 w 309"/>
                    <a:gd name="T5" fmla="*/ 58 h 210"/>
                    <a:gd name="T6" fmla="*/ 304 w 309"/>
                    <a:gd name="T7" fmla="*/ 74 h 210"/>
                    <a:gd name="T8" fmla="*/ 302 w 309"/>
                    <a:gd name="T9" fmla="*/ 104 h 210"/>
                    <a:gd name="T10" fmla="*/ 284 w 309"/>
                    <a:gd name="T11" fmla="*/ 116 h 210"/>
                    <a:gd name="T12" fmla="*/ 274 w 309"/>
                    <a:gd name="T13" fmla="*/ 140 h 210"/>
                    <a:gd name="T14" fmla="*/ 270 w 309"/>
                    <a:gd name="T15" fmla="*/ 152 h 210"/>
                    <a:gd name="T16" fmla="*/ 260 w 309"/>
                    <a:gd name="T17" fmla="*/ 192 h 210"/>
                    <a:gd name="T18" fmla="*/ 248 w 309"/>
                    <a:gd name="T19" fmla="*/ 210 h 210"/>
                    <a:gd name="T20" fmla="*/ 228 w 309"/>
                    <a:gd name="T21" fmla="*/ 200 h 210"/>
                    <a:gd name="T22" fmla="*/ 188 w 309"/>
                    <a:gd name="T23" fmla="*/ 180 h 210"/>
                    <a:gd name="T24" fmla="*/ 146 w 309"/>
                    <a:gd name="T25" fmla="*/ 154 h 210"/>
                    <a:gd name="T26" fmla="*/ 122 w 309"/>
                    <a:gd name="T27" fmla="*/ 162 h 210"/>
                    <a:gd name="T28" fmla="*/ 84 w 309"/>
                    <a:gd name="T29" fmla="*/ 134 h 210"/>
                    <a:gd name="T30" fmla="*/ 62 w 309"/>
                    <a:gd name="T31" fmla="*/ 122 h 210"/>
                    <a:gd name="T32" fmla="*/ 8 w 309"/>
                    <a:gd name="T33" fmla="*/ 86 h 210"/>
                    <a:gd name="T34" fmla="*/ 0 w 309"/>
                    <a:gd name="T35" fmla="*/ 68 h 210"/>
                    <a:gd name="T36" fmla="*/ 14 w 309"/>
                    <a:gd name="T37" fmla="*/ 54 h 210"/>
                    <a:gd name="T38" fmla="*/ 26 w 309"/>
                    <a:gd name="T39" fmla="*/ 50 h 210"/>
                    <a:gd name="T40" fmla="*/ 42 w 309"/>
                    <a:gd name="T41" fmla="*/ 4 h 210"/>
                    <a:gd name="T42" fmla="*/ 54 w 309"/>
                    <a:gd name="T43" fmla="*/ 0 h 210"/>
                    <a:gd name="T44" fmla="*/ 132 w 309"/>
                    <a:gd name="T45" fmla="*/ 28 h 210"/>
                    <a:gd name="T46" fmla="*/ 172 w 309"/>
                    <a:gd name="T47" fmla="*/ 30 h 210"/>
                    <a:gd name="T48" fmla="*/ 188 w 309"/>
                    <a:gd name="T49" fmla="*/ 22 h 210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0" t="0" r="r" b="b"/>
                  <a:pathLst>
                    <a:path w="309" h="210">
                      <a:moveTo>
                        <a:pt x="188" y="22"/>
                      </a:moveTo>
                      <a:cubicBezTo>
                        <a:pt x="201" y="31"/>
                        <a:pt x="203" y="37"/>
                        <a:pt x="220" y="44"/>
                      </a:cubicBezTo>
                      <a:cubicBezTo>
                        <a:pt x="230" y="54"/>
                        <a:pt x="246" y="56"/>
                        <a:pt x="260" y="58"/>
                      </a:cubicBezTo>
                      <a:cubicBezTo>
                        <a:pt x="275" y="63"/>
                        <a:pt x="289" y="69"/>
                        <a:pt x="304" y="74"/>
                      </a:cubicBezTo>
                      <a:cubicBezTo>
                        <a:pt x="306" y="82"/>
                        <a:pt x="309" y="97"/>
                        <a:pt x="302" y="104"/>
                      </a:cubicBezTo>
                      <a:cubicBezTo>
                        <a:pt x="297" y="109"/>
                        <a:pt x="284" y="116"/>
                        <a:pt x="284" y="116"/>
                      </a:cubicBezTo>
                      <a:cubicBezTo>
                        <a:pt x="281" y="125"/>
                        <a:pt x="278" y="132"/>
                        <a:pt x="274" y="140"/>
                      </a:cubicBezTo>
                      <a:cubicBezTo>
                        <a:pt x="272" y="144"/>
                        <a:pt x="270" y="152"/>
                        <a:pt x="270" y="152"/>
                      </a:cubicBezTo>
                      <a:cubicBezTo>
                        <a:pt x="274" y="168"/>
                        <a:pt x="275" y="182"/>
                        <a:pt x="260" y="192"/>
                      </a:cubicBezTo>
                      <a:cubicBezTo>
                        <a:pt x="256" y="198"/>
                        <a:pt x="248" y="210"/>
                        <a:pt x="248" y="210"/>
                      </a:cubicBezTo>
                      <a:cubicBezTo>
                        <a:pt x="241" y="208"/>
                        <a:pt x="228" y="200"/>
                        <a:pt x="228" y="200"/>
                      </a:cubicBezTo>
                      <a:cubicBezTo>
                        <a:pt x="213" y="178"/>
                        <a:pt x="208" y="191"/>
                        <a:pt x="188" y="180"/>
                      </a:cubicBezTo>
                      <a:cubicBezTo>
                        <a:pt x="173" y="172"/>
                        <a:pt x="160" y="164"/>
                        <a:pt x="146" y="154"/>
                      </a:cubicBezTo>
                      <a:cubicBezTo>
                        <a:pt x="136" y="156"/>
                        <a:pt x="131" y="159"/>
                        <a:pt x="122" y="162"/>
                      </a:cubicBezTo>
                      <a:cubicBezTo>
                        <a:pt x="104" y="159"/>
                        <a:pt x="99" y="144"/>
                        <a:pt x="84" y="134"/>
                      </a:cubicBezTo>
                      <a:cubicBezTo>
                        <a:pt x="81" y="124"/>
                        <a:pt x="71" y="125"/>
                        <a:pt x="62" y="122"/>
                      </a:cubicBezTo>
                      <a:cubicBezTo>
                        <a:pt x="47" y="107"/>
                        <a:pt x="28" y="96"/>
                        <a:pt x="8" y="86"/>
                      </a:cubicBezTo>
                      <a:cubicBezTo>
                        <a:pt x="6" y="79"/>
                        <a:pt x="2" y="75"/>
                        <a:pt x="0" y="68"/>
                      </a:cubicBezTo>
                      <a:cubicBezTo>
                        <a:pt x="3" y="60"/>
                        <a:pt x="2" y="58"/>
                        <a:pt x="14" y="54"/>
                      </a:cubicBezTo>
                      <a:cubicBezTo>
                        <a:pt x="18" y="53"/>
                        <a:pt x="26" y="50"/>
                        <a:pt x="26" y="50"/>
                      </a:cubicBezTo>
                      <a:cubicBezTo>
                        <a:pt x="28" y="33"/>
                        <a:pt x="37" y="20"/>
                        <a:pt x="42" y="4"/>
                      </a:cubicBezTo>
                      <a:cubicBezTo>
                        <a:pt x="43" y="0"/>
                        <a:pt x="54" y="0"/>
                        <a:pt x="54" y="0"/>
                      </a:cubicBezTo>
                      <a:cubicBezTo>
                        <a:pt x="85" y="21"/>
                        <a:pt x="90" y="25"/>
                        <a:pt x="132" y="28"/>
                      </a:cubicBezTo>
                      <a:cubicBezTo>
                        <a:pt x="147" y="32"/>
                        <a:pt x="155" y="32"/>
                        <a:pt x="172" y="30"/>
                      </a:cubicBezTo>
                      <a:cubicBezTo>
                        <a:pt x="177" y="23"/>
                        <a:pt x="179" y="22"/>
                        <a:pt x="188" y="22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61" name="Freeform 80"/>
                <p:cNvSpPr>
                  <a:spLocks/>
                </p:cNvSpPr>
                <p:nvPr/>
              </p:nvSpPr>
              <p:spPr bwMode="gray">
                <a:xfrm>
                  <a:off x="764" y="2459"/>
                  <a:ext cx="148" cy="137"/>
                </a:xfrm>
                <a:custGeom>
                  <a:avLst/>
                  <a:gdLst>
                    <a:gd name="T0" fmla="*/ 56 w 148"/>
                    <a:gd name="T1" fmla="*/ 21 h 137"/>
                    <a:gd name="T2" fmla="*/ 100 w 148"/>
                    <a:gd name="T3" fmla="*/ 29 h 137"/>
                    <a:gd name="T4" fmla="*/ 118 w 148"/>
                    <a:gd name="T5" fmla="*/ 35 h 137"/>
                    <a:gd name="T6" fmla="*/ 124 w 148"/>
                    <a:gd name="T7" fmla="*/ 37 h 137"/>
                    <a:gd name="T8" fmla="*/ 138 w 148"/>
                    <a:gd name="T9" fmla="*/ 53 h 137"/>
                    <a:gd name="T10" fmla="*/ 148 w 148"/>
                    <a:gd name="T11" fmla="*/ 71 h 137"/>
                    <a:gd name="T12" fmla="*/ 94 w 148"/>
                    <a:gd name="T13" fmla="*/ 107 h 137"/>
                    <a:gd name="T14" fmla="*/ 66 w 148"/>
                    <a:gd name="T15" fmla="*/ 137 h 137"/>
                    <a:gd name="T16" fmla="*/ 48 w 148"/>
                    <a:gd name="T17" fmla="*/ 103 h 137"/>
                    <a:gd name="T18" fmla="*/ 30 w 148"/>
                    <a:gd name="T19" fmla="*/ 79 h 137"/>
                    <a:gd name="T20" fmla="*/ 14 w 148"/>
                    <a:gd name="T21" fmla="*/ 59 h 137"/>
                    <a:gd name="T22" fmla="*/ 0 w 148"/>
                    <a:gd name="T23" fmla="*/ 43 h 137"/>
                    <a:gd name="T24" fmla="*/ 0 w 148"/>
                    <a:gd name="T25" fmla="*/ 17 h 137"/>
                    <a:gd name="T26" fmla="*/ 22 w 148"/>
                    <a:gd name="T27" fmla="*/ 3 h 137"/>
                    <a:gd name="T28" fmla="*/ 56 w 148"/>
                    <a:gd name="T29" fmla="*/ 21 h 137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0" t="0" r="r" b="b"/>
                  <a:pathLst>
                    <a:path w="148" h="137">
                      <a:moveTo>
                        <a:pt x="56" y="21"/>
                      </a:moveTo>
                      <a:cubicBezTo>
                        <a:pt x="71" y="31"/>
                        <a:pt x="78" y="28"/>
                        <a:pt x="100" y="29"/>
                      </a:cubicBezTo>
                      <a:cubicBezTo>
                        <a:pt x="106" y="31"/>
                        <a:pt x="112" y="33"/>
                        <a:pt x="118" y="35"/>
                      </a:cubicBezTo>
                      <a:cubicBezTo>
                        <a:pt x="120" y="36"/>
                        <a:pt x="124" y="37"/>
                        <a:pt x="124" y="37"/>
                      </a:cubicBezTo>
                      <a:cubicBezTo>
                        <a:pt x="133" y="51"/>
                        <a:pt x="128" y="46"/>
                        <a:pt x="138" y="53"/>
                      </a:cubicBezTo>
                      <a:cubicBezTo>
                        <a:pt x="147" y="67"/>
                        <a:pt x="144" y="60"/>
                        <a:pt x="148" y="71"/>
                      </a:cubicBezTo>
                      <a:cubicBezTo>
                        <a:pt x="144" y="111"/>
                        <a:pt x="137" y="105"/>
                        <a:pt x="94" y="107"/>
                      </a:cubicBezTo>
                      <a:cubicBezTo>
                        <a:pt x="80" y="116"/>
                        <a:pt x="86" y="127"/>
                        <a:pt x="66" y="137"/>
                      </a:cubicBezTo>
                      <a:cubicBezTo>
                        <a:pt x="53" y="133"/>
                        <a:pt x="52" y="115"/>
                        <a:pt x="48" y="103"/>
                      </a:cubicBezTo>
                      <a:cubicBezTo>
                        <a:pt x="45" y="95"/>
                        <a:pt x="36" y="85"/>
                        <a:pt x="30" y="79"/>
                      </a:cubicBezTo>
                      <a:cubicBezTo>
                        <a:pt x="27" y="69"/>
                        <a:pt x="24" y="62"/>
                        <a:pt x="14" y="59"/>
                      </a:cubicBezTo>
                      <a:cubicBezTo>
                        <a:pt x="8" y="53"/>
                        <a:pt x="3" y="51"/>
                        <a:pt x="0" y="43"/>
                      </a:cubicBezTo>
                      <a:cubicBezTo>
                        <a:pt x="4" y="30"/>
                        <a:pt x="4" y="30"/>
                        <a:pt x="0" y="17"/>
                      </a:cubicBezTo>
                      <a:cubicBezTo>
                        <a:pt x="4" y="6"/>
                        <a:pt x="12" y="6"/>
                        <a:pt x="22" y="3"/>
                      </a:cubicBezTo>
                      <a:cubicBezTo>
                        <a:pt x="29" y="3"/>
                        <a:pt x="66" y="0"/>
                        <a:pt x="56" y="21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62" name="Freeform 81"/>
                <p:cNvSpPr>
                  <a:spLocks/>
                </p:cNvSpPr>
                <p:nvPr/>
              </p:nvSpPr>
              <p:spPr bwMode="gray">
                <a:xfrm>
                  <a:off x="694" y="2441"/>
                  <a:ext cx="132" cy="177"/>
                </a:xfrm>
                <a:custGeom>
                  <a:avLst/>
                  <a:gdLst>
                    <a:gd name="T0" fmla="*/ 34 w 132"/>
                    <a:gd name="T1" fmla="*/ 9 h 177"/>
                    <a:gd name="T2" fmla="*/ 68 w 132"/>
                    <a:gd name="T3" fmla="*/ 31 h 177"/>
                    <a:gd name="T4" fmla="*/ 70 w 132"/>
                    <a:gd name="T5" fmla="*/ 59 h 177"/>
                    <a:gd name="T6" fmla="*/ 76 w 132"/>
                    <a:gd name="T7" fmla="*/ 75 h 177"/>
                    <a:gd name="T8" fmla="*/ 92 w 132"/>
                    <a:gd name="T9" fmla="*/ 79 h 177"/>
                    <a:gd name="T10" fmla="*/ 118 w 132"/>
                    <a:gd name="T11" fmla="*/ 113 h 177"/>
                    <a:gd name="T12" fmla="*/ 128 w 132"/>
                    <a:gd name="T13" fmla="*/ 145 h 177"/>
                    <a:gd name="T14" fmla="*/ 132 w 132"/>
                    <a:gd name="T15" fmla="*/ 157 h 177"/>
                    <a:gd name="T16" fmla="*/ 92 w 132"/>
                    <a:gd name="T17" fmla="*/ 165 h 177"/>
                    <a:gd name="T18" fmla="*/ 76 w 132"/>
                    <a:gd name="T19" fmla="*/ 175 h 177"/>
                    <a:gd name="T20" fmla="*/ 70 w 132"/>
                    <a:gd name="T21" fmla="*/ 177 h 177"/>
                    <a:gd name="T22" fmla="*/ 38 w 132"/>
                    <a:gd name="T23" fmla="*/ 161 h 177"/>
                    <a:gd name="T24" fmla="*/ 26 w 132"/>
                    <a:gd name="T25" fmla="*/ 145 h 177"/>
                    <a:gd name="T26" fmla="*/ 14 w 132"/>
                    <a:gd name="T27" fmla="*/ 137 h 177"/>
                    <a:gd name="T28" fmla="*/ 20 w 132"/>
                    <a:gd name="T29" fmla="*/ 109 h 177"/>
                    <a:gd name="T30" fmla="*/ 24 w 132"/>
                    <a:gd name="T31" fmla="*/ 97 h 177"/>
                    <a:gd name="T32" fmla="*/ 14 w 132"/>
                    <a:gd name="T33" fmla="*/ 79 h 177"/>
                    <a:gd name="T34" fmla="*/ 0 w 132"/>
                    <a:gd name="T35" fmla="*/ 63 h 177"/>
                    <a:gd name="T36" fmla="*/ 8 w 132"/>
                    <a:gd name="T37" fmla="*/ 29 h 177"/>
                    <a:gd name="T38" fmla="*/ 26 w 132"/>
                    <a:gd name="T39" fmla="*/ 15 h 177"/>
                    <a:gd name="T40" fmla="*/ 34 w 132"/>
                    <a:gd name="T41" fmla="*/ 9 h 177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0" t="0" r="r" b="b"/>
                  <a:pathLst>
                    <a:path w="132" h="177">
                      <a:moveTo>
                        <a:pt x="34" y="9"/>
                      </a:moveTo>
                      <a:cubicBezTo>
                        <a:pt x="47" y="28"/>
                        <a:pt x="46" y="24"/>
                        <a:pt x="68" y="31"/>
                      </a:cubicBezTo>
                      <a:cubicBezTo>
                        <a:pt x="71" y="41"/>
                        <a:pt x="72" y="48"/>
                        <a:pt x="70" y="59"/>
                      </a:cubicBezTo>
                      <a:cubicBezTo>
                        <a:pt x="71" y="62"/>
                        <a:pt x="71" y="73"/>
                        <a:pt x="76" y="75"/>
                      </a:cubicBezTo>
                      <a:cubicBezTo>
                        <a:pt x="81" y="77"/>
                        <a:pt x="92" y="79"/>
                        <a:pt x="92" y="79"/>
                      </a:cubicBezTo>
                      <a:cubicBezTo>
                        <a:pt x="105" y="88"/>
                        <a:pt x="99" y="107"/>
                        <a:pt x="118" y="113"/>
                      </a:cubicBezTo>
                      <a:cubicBezTo>
                        <a:pt x="122" y="124"/>
                        <a:pt x="124" y="134"/>
                        <a:pt x="128" y="145"/>
                      </a:cubicBezTo>
                      <a:cubicBezTo>
                        <a:pt x="129" y="149"/>
                        <a:pt x="132" y="157"/>
                        <a:pt x="132" y="157"/>
                      </a:cubicBezTo>
                      <a:cubicBezTo>
                        <a:pt x="118" y="162"/>
                        <a:pt x="104" y="157"/>
                        <a:pt x="92" y="165"/>
                      </a:cubicBezTo>
                      <a:cubicBezTo>
                        <a:pt x="86" y="175"/>
                        <a:pt x="90" y="170"/>
                        <a:pt x="76" y="175"/>
                      </a:cubicBezTo>
                      <a:cubicBezTo>
                        <a:pt x="74" y="176"/>
                        <a:pt x="70" y="177"/>
                        <a:pt x="70" y="177"/>
                      </a:cubicBezTo>
                      <a:cubicBezTo>
                        <a:pt x="56" y="174"/>
                        <a:pt x="49" y="169"/>
                        <a:pt x="38" y="161"/>
                      </a:cubicBezTo>
                      <a:cubicBezTo>
                        <a:pt x="36" y="155"/>
                        <a:pt x="31" y="149"/>
                        <a:pt x="26" y="145"/>
                      </a:cubicBezTo>
                      <a:cubicBezTo>
                        <a:pt x="22" y="142"/>
                        <a:pt x="14" y="137"/>
                        <a:pt x="14" y="137"/>
                      </a:cubicBezTo>
                      <a:cubicBezTo>
                        <a:pt x="17" y="117"/>
                        <a:pt x="14" y="126"/>
                        <a:pt x="20" y="109"/>
                      </a:cubicBezTo>
                      <a:cubicBezTo>
                        <a:pt x="21" y="105"/>
                        <a:pt x="24" y="97"/>
                        <a:pt x="24" y="97"/>
                      </a:cubicBezTo>
                      <a:cubicBezTo>
                        <a:pt x="22" y="88"/>
                        <a:pt x="22" y="84"/>
                        <a:pt x="14" y="79"/>
                      </a:cubicBezTo>
                      <a:cubicBezTo>
                        <a:pt x="10" y="72"/>
                        <a:pt x="4" y="70"/>
                        <a:pt x="0" y="63"/>
                      </a:cubicBezTo>
                      <a:cubicBezTo>
                        <a:pt x="1" y="50"/>
                        <a:pt x="1" y="40"/>
                        <a:pt x="8" y="29"/>
                      </a:cubicBezTo>
                      <a:cubicBezTo>
                        <a:pt x="12" y="23"/>
                        <a:pt x="26" y="15"/>
                        <a:pt x="26" y="15"/>
                      </a:cubicBezTo>
                      <a:cubicBezTo>
                        <a:pt x="26" y="14"/>
                        <a:pt x="34" y="0"/>
                        <a:pt x="34" y="9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63" name="Freeform 82"/>
                <p:cNvSpPr>
                  <a:spLocks/>
                </p:cNvSpPr>
                <p:nvPr/>
              </p:nvSpPr>
              <p:spPr bwMode="gray">
                <a:xfrm>
                  <a:off x="567" y="2388"/>
                  <a:ext cx="157" cy="192"/>
                </a:xfrm>
                <a:custGeom>
                  <a:avLst/>
                  <a:gdLst>
                    <a:gd name="T0" fmla="*/ 1 w 157"/>
                    <a:gd name="T1" fmla="*/ 42 h 192"/>
                    <a:gd name="T2" fmla="*/ 11 w 157"/>
                    <a:gd name="T3" fmla="*/ 24 h 192"/>
                    <a:gd name="T4" fmla="*/ 53 w 157"/>
                    <a:gd name="T5" fmla="*/ 0 h 192"/>
                    <a:gd name="T6" fmla="*/ 95 w 157"/>
                    <a:gd name="T7" fmla="*/ 26 h 192"/>
                    <a:gd name="T8" fmla="*/ 117 w 157"/>
                    <a:gd name="T9" fmla="*/ 30 h 192"/>
                    <a:gd name="T10" fmla="*/ 141 w 157"/>
                    <a:gd name="T11" fmla="*/ 48 h 192"/>
                    <a:gd name="T12" fmla="*/ 157 w 157"/>
                    <a:gd name="T13" fmla="*/ 68 h 192"/>
                    <a:gd name="T14" fmla="*/ 129 w 157"/>
                    <a:gd name="T15" fmla="*/ 106 h 192"/>
                    <a:gd name="T16" fmla="*/ 141 w 157"/>
                    <a:gd name="T17" fmla="*/ 124 h 192"/>
                    <a:gd name="T18" fmla="*/ 149 w 157"/>
                    <a:gd name="T19" fmla="*/ 142 h 192"/>
                    <a:gd name="T20" fmla="*/ 151 w 157"/>
                    <a:gd name="T21" fmla="*/ 148 h 192"/>
                    <a:gd name="T22" fmla="*/ 143 w 157"/>
                    <a:gd name="T23" fmla="*/ 188 h 192"/>
                    <a:gd name="T24" fmla="*/ 129 w 157"/>
                    <a:gd name="T25" fmla="*/ 192 h 192"/>
                    <a:gd name="T26" fmla="*/ 85 w 157"/>
                    <a:gd name="T27" fmla="*/ 190 h 192"/>
                    <a:gd name="T28" fmla="*/ 61 w 157"/>
                    <a:gd name="T29" fmla="*/ 182 h 192"/>
                    <a:gd name="T30" fmla="*/ 41 w 157"/>
                    <a:gd name="T31" fmla="*/ 148 h 192"/>
                    <a:gd name="T32" fmla="*/ 35 w 157"/>
                    <a:gd name="T33" fmla="*/ 130 h 192"/>
                    <a:gd name="T34" fmla="*/ 41 w 157"/>
                    <a:gd name="T35" fmla="*/ 100 h 192"/>
                    <a:gd name="T36" fmla="*/ 7 w 157"/>
                    <a:gd name="T37" fmla="*/ 68 h 192"/>
                    <a:gd name="T38" fmla="*/ 1 w 157"/>
                    <a:gd name="T39" fmla="*/ 56 h 192"/>
                    <a:gd name="T40" fmla="*/ 1 w 157"/>
                    <a:gd name="T41" fmla="*/ 42 h 192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0" t="0" r="r" b="b"/>
                  <a:pathLst>
                    <a:path w="157" h="192">
                      <a:moveTo>
                        <a:pt x="1" y="42"/>
                      </a:moveTo>
                      <a:cubicBezTo>
                        <a:pt x="4" y="37"/>
                        <a:pt x="6" y="28"/>
                        <a:pt x="11" y="24"/>
                      </a:cubicBezTo>
                      <a:cubicBezTo>
                        <a:pt x="21" y="16"/>
                        <a:pt x="40" y="4"/>
                        <a:pt x="53" y="0"/>
                      </a:cubicBezTo>
                      <a:cubicBezTo>
                        <a:pt x="76" y="3"/>
                        <a:pt x="80" y="14"/>
                        <a:pt x="95" y="26"/>
                      </a:cubicBezTo>
                      <a:cubicBezTo>
                        <a:pt x="101" y="31"/>
                        <a:pt x="110" y="29"/>
                        <a:pt x="117" y="30"/>
                      </a:cubicBezTo>
                      <a:cubicBezTo>
                        <a:pt x="127" y="33"/>
                        <a:pt x="132" y="42"/>
                        <a:pt x="141" y="48"/>
                      </a:cubicBezTo>
                      <a:cubicBezTo>
                        <a:pt x="147" y="57"/>
                        <a:pt x="153" y="57"/>
                        <a:pt x="157" y="68"/>
                      </a:cubicBezTo>
                      <a:cubicBezTo>
                        <a:pt x="143" y="77"/>
                        <a:pt x="135" y="89"/>
                        <a:pt x="129" y="106"/>
                      </a:cubicBezTo>
                      <a:cubicBezTo>
                        <a:pt x="131" y="115"/>
                        <a:pt x="133" y="119"/>
                        <a:pt x="141" y="124"/>
                      </a:cubicBezTo>
                      <a:cubicBezTo>
                        <a:pt x="147" y="134"/>
                        <a:pt x="144" y="128"/>
                        <a:pt x="149" y="142"/>
                      </a:cubicBezTo>
                      <a:cubicBezTo>
                        <a:pt x="150" y="144"/>
                        <a:pt x="151" y="148"/>
                        <a:pt x="151" y="148"/>
                      </a:cubicBezTo>
                      <a:cubicBezTo>
                        <a:pt x="149" y="158"/>
                        <a:pt x="149" y="179"/>
                        <a:pt x="143" y="188"/>
                      </a:cubicBezTo>
                      <a:cubicBezTo>
                        <a:pt x="140" y="192"/>
                        <a:pt x="134" y="191"/>
                        <a:pt x="129" y="192"/>
                      </a:cubicBezTo>
                      <a:cubicBezTo>
                        <a:pt x="114" y="191"/>
                        <a:pt x="100" y="192"/>
                        <a:pt x="85" y="190"/>
                      </a:cubicBezTo>
                      <a:cubicBezTo>
                        <a:pt x="77" y="189"/>
                        <a:pt x="61" y="182"/>
                        <a:pt x="61" y="182"/>
                      </a:cubicBezTo>
                      <a:cubicBezTo>
                        <a:pt x="53" y="169"/>
                        <a:pt x="46" y="164"/>
                        <a:pt x="41" y="148"/>
                      </a:cubicBezTo>
                      <a:cubicBezTo>
                        <a:pt x="39" y="142"/>
                        <a:pt x="35" y="130"/>
                        <a:pt x="35" y="130"/>
                      </a:cubicBezTo>
                      <a:cubicBezTo>
                        <a:pt x="36" y="120"/>
                        <a:pt x="41" y="100"/>
                        <a:pt x="41" y="100"/>
                      </a:cubicBezTo>
                      <a:cubicBezTo>
                        <a:pt x="36" y="67"/>
                        <a:pt x="34" y="77"/>
                        <a:pt x="7" y="68"/>
                      </a:cubicBezTo>
                      <a:cubicBezTo>
                        <a:pt x="6" y="64"/>
                        <a:pt x="1" y="60"/>
                        <a:pt x="1" y="56"/>
                      </a:cubicBezTo>
                      <a:cubicBezTo>
                        <a:pt x="0" y="42"/>
                        <a:pt x="7" y="36"/>
                        <a:pt x="1" y="42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64" name="Freeform 83"/>
                <p:cNvSpPr>
                  <a:spLocks/>
                </p:cNvSpPr>
                <p:nvPr/>
              </p:nvSpPr>
              <p:spPr bwMode="gray">
                <a:xfrm>
                  <a:off x="589" y="2575"/>
                  <a:ext cx="175" cy="137"/>
                </a:xfrm>
                <a:custGeom>
                  <a:avLst/>
                  <a:gdLst>
                    <a:gd name="T0" fmla="*/ 27 w 175"/>
                    <a:gd name="T1" fmla="*/ 33 h 137"/>
                    <a:gd name="T2" fmla="*/ 49 w 175"/>
                    <a:gd name="T3" fmla="*/ 3 h 137"/>
                    <a:gd name="T4" fmla="*/ 123 w 175"/>
                    <a:gd name="T5" fmla="*/ 9 h 137"/>
                    <a:gd name="T6" fmla="*/ 151 w 175"/>
                    <a:gd name="T7" fmla="*/ 33 h 137"/>
                    <a:gd name="T8" fmla="*/ 169 w 175"/>
                    <a:gd name="T9" fmla="*/ 39 h 137"/>
                    <a:gd name="T10" fmla="*/ 163 w 175"/>
                    <a:gd name="T11" fmla="*/ 57 h 137"/>
                    <a:gd name="T12" fmla="*/ 169 w 175"/>
                    <a:gd name="T13" fmla="*/ 81 h 137"/>
                    <a:gd name="T14" fmla="*/ 157 w 175"/>
                    <a:gd name="T15" fmla="*/ 111 h 137"/>
                    <a:gd name="T16" fmla="*/ 139 w 175"/>
                    <a:gd name="T17" fmla="*/ 123 h 137"/>
                    <a:gd name="T18" fmla="*/ 117 w 175"/>
                    <a:gd name="T19" fmla="*/ 137 h 137"/>
                    <a:gd name="T20" fmla="*/ 105 w 175"/>
                    <a:gd name="T21" fmla="*/ 115 h 137"/>
                    <a:gd name="T22" fmla="*/ 81 w 175"/>
                    <a:gd name="T23" fmla="*/ 123 h 137"/>
                    <a:gd name="T24" fmla="*/ 47 w 175"/>
                    <a:gd name="T25" fmla="*/ 105 h 137"/>
                    <a:gd name="T26" fmla="*/ 29 w 175"/>
                    <a:gd name="T27" fmla="*/ 93 h 137"/>
                    <a:gd name="T28" fmla="*/ 11 w 175"/>
                    <a:gd name="T29" fmla="*/ 73 h 137"/>
                    <a:gd name="T30" fmla="*/ 9 w 175"/>
                    <a:gd name="T31" fmla="*/ 39 h 137"/>
                    <a:gd name="T32" fmla="*/ 27 w 175"/>
                    <a:gd name="T33" fmla="*/ 33 h 137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0" t="0" r="r" b="b"/>
                  <a:pathLst>
                    <a:path w="175" h="137">
                      <a:moveTo>
                        <a:pt x="27" y="33"/>
                      </a:moveTo>
                      <a:cubicBezTo>
                        <a:pt x="36" y="19"/>
                        <a:pt x="32" y="9"/>
                        <a:pt x="49" y="3"/>
                      </a:cubicBezTo>
                      <a:cubicBezTo>
                        <a:pt x="83" y="4"/>
                        <a:pt x="97" y="0"/>
                        <a:pt x="123" y="9"/>
                      </a:cubicBezTo>
                      <a:cubicBezTo>
                        <a:pt x="133" y="19"/>
                        <a:pt x="139" y="28"/>
                        <a:pt x="151" y="33"/>
                      </a:cubicBezTo>
                      <a:cubicBezTo>
                        <a:pt x="157" y="36"/>
                        <a:pt x="169" y="39"/>
                        <a:pt x="169" y="39"/>
                      </a:cubicBezTo>
                      <a:cubicBezTo>
                        <a:pt x="175" y="48"/>
                        <a:pt x="169" y="49"/>
                        <a:pt x="163" y="57"/>
                      </a:cubicBezTo>
                      <a:cubicBezTo>
                        <a:pt x="164" y="65"/>
                        <a:pt x="169" y="81"/>
                        <a:pt x="169" y="81"/>
                      </a:cubicBezTo>
                      <a:cubicBezTo>
                        <a:pt x="167" y="90"/>
                        <a:pt x="166" y="105"/>
                        <a:pt x="157" y="111"/>
                      </a:cubicBezTo>
                      <a:cubicBezTo>
                        <a:pt x="151" y="115"/>
                        <a:pt x="139" y="123"/>
                        <a:pt x="139" y="123"/>
                      </a:cubicBezTo>
                      <a:cubicBezTo>
                        <a:pt x="134" y="130"/>
                        <a:pt x="126" y="134"/>
                        <a:pt x="117" y="137"/>
                      </a:cubicBezTo>
                      <a:cubicBezTo>
                        <a:pt x="113" y="126"/>
                        <a:pt x="114" y="121"/>
                        <a:pt x="105" y="115"/>
                      </a:cubicBezTo>
                      <a:cubicBezTo>
                        <a:pt x="95" y="117"/>
                        <a:pt x="89" y="117"/>
                        <a:pt x="81" y="123"/>
                      </a:cubicBezTo>
                      <a:cubicBezTo>
                        <a:pt x="65" y="112"/>
                        <a:pt x="67" y="108"/>
                        <a:pt x="47" y="105"/>
                      </a:cubicBezTo>
                      <a:cubicBezTo>
                        <a:pt x="41" y="101"/>
                        <a:pt x="29" y="93"/>
                        <a:pt x="29" y="93"/>
                      </a:cubicBezTo>
                      <a:cubicBezTo>
                        <a:pt x="23" y="84"/>
                        <a:pt x="21" y="76"/>
                        <a:pt x="11" y="73"/>
                      </a:cubicBezTo>
                      <a:cubicBezTo>
                        <a:pt x="7" y="62"/>
                        <a:pt x="0" y="50"/>
                        <a:pt x="9" y="39"/>
                      </a:cubicBezTo>
                      <a:cubicBezTo>
                        <a:pt x="11" y="36"/>
                        <a:pt x="27" y="25"/>
                        <a:pt x="27" y="33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65" name="Freeform 84"/>
                <p:cNvSpPr>
                  <a:spLocks/>
                </p:cNvSpPr>
                <p:nvPr/>
              </p:nvSpPr>
              <p:spPr bwMode="gray">
                <a:xfrm>
                  <a:off x="398" y="2286"/>
                  <a:ext cx="192" cy="169"/>
                </a:xfrm>
                <a:custGeom>
                  <a:avLst/>
                  <a:gdLst>
                    <a:gd name="T0" fmla="*/ 68 w 192"/>
                    <a:gd name="T1" fmla="*/ 0 h 169"/>
                    <a:gd name="T2" fmla="*/ 84 w 192"/>
                    <a:gd name="T3" fmla="*/ 12 h 169"/>
                    <a:gd name="T4" fmla="*/ 114 w 192"/>
                    <a:gd name="T5" fmla="*/ 48 h 169"/>
                    <a:gd name="T6" fmla="*/ 132 w 192"/>
                    <a:gd name="T7" fmla="*/ 58 h 169"/>
                    <a:gd name="T8" fmla="*/ 160 w 192"/>
                    <a:gd name="T9" fmla="*/ 80 h 169"/>
                    <a:gd name="T10" fmla="*/ 170 w 192"/>
                    <a:gd name="T11" fmla="*/ 92 h 169"/>
                    <a:gd name="T12" fmla="*/ 182 w 192"/>
                    <a:gd name="T13" fmla="*/ 100 h 169"/>
                    <a:gd name="T14" fmla="*/ 192 w 192"/>
                    <a:gd name="T15" fmla="*/ 114 h 169"/>
                    <a:gd name="T16" fmla="*/ 170 w 192"/>
                    <a:gd name="T17" fmla="*/ 142 h 169"/>
                    <a:gd name="T18" fmla="*/ 134 w 192"/>
                    <a:gd name="T19" fmla="*/ 164 h 169"/>
                    <a:gd name="T20" fmla="*/ 86 w 192"/>
                    <a:gd name="T21" fmla="*/ 160 h 169"/>
                    <a:gd name="T22" fmla="*/ 76 w 192"/>
                    <a:gd name="T23" fmla="*/ 152 h 169"/>
                    <a:gd name="T24" fmla="*/ 60 w 192"/>
                    <a:gd name="T25" fmla="*/ 158 h 169"/>
                    <a:gd name="T26" fmla="*/ 48 w 192"/>
                    <a:gd name="T27" fmla="*/ 162 h 169"/>
                    <a:gd name="T28" fmla="*/ 10 w 192"/>
                    <a:gd name="T29" fmla="*/ 154 h 169"/>
                    <a:gd name="T30" fmla="*/ 4 w 192"/>
                    <a:gd name="T31" fmla="*/ 134 h 169"/>
                    <a:gd name="T32" fmla="*/ 0 w 192"/>
                    <a:gd name="T33" fmla="*/ 122 h 169"/>
                    <a:gd name="T34" fmla="*/ 36 w 192"/>
                    <a:gd name="T35" fmla="*/ 44 h 169"/>
                    <a:gd name="T36" fmla="*/ 54 w 192"/>
                    <a:gd name="T37" fmla="*/ 22 h 169"/>
                    <a:gd name="T38" fmla="*/ 68 w 192"/>
                    <a:gd name="T39" fmla="*/ 0 h 169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0" t="0" r="r" b="b"/>
                  <a:pathLst>
                    <a:path w="192" h="169">
                      <a:moveTo>
                        <a:pt x="68" y="0"/>
                      </a:moveTo>
                      <a:cubicBezTo>
                        <a:pt x="76" y="3"/>
                        <a:pt x="79" y="5"/>
                        <a:pt x="84" y="12"/>
                      </a:cubicBezTo>
                      <a:cubicBezTo>
                        <a:pt x="89" y="32"/>
                        <a:pt x="96" y="39"/>
                        <a:pt x="114" y="48"/>
                      </a:cubicBezTo>
                      <a:cubicBezTo>
                        <a:pt x="120" y="51"/>
                        <a:pt x="132" y="58"/>
                        <a:pt x="132" y="58"/>
                      </a:cubicBezTo>
                      <a:cubicBezTo>
                        <a:pt x="140" y="70"/>
                        <a:pt x="144" y="77"/>
                        <a:pt x="160" y="80"/>
                      </a:cubicBezTo>
                      <a:cubicBezTo>
                        <a:pt x="164" y="85"/>
                        <a:pt x="165" y="88"/>
                        <a:pt x="170" y="92"/>
                      </a:cubicBezTo>
                      <a:cubicBezTo>
                        <a:pt x="174" y="95"/>
                        <a:pt x="182" y="100"/>
                        <a:pt x="182" y="100"/>
                      </a:cubicBezTo>
                      <a:cubicBezTo>
                        <a:pt x="185" y="109"/>
                        <a:pt x="189" y="105"/>
                        <a:pt x="192" y="114"/>
                      </a:cubicBezTo>
                      <a:cubicBezTo>
                        <a:pt x="188" y="125"/>
                        <a:pt x="180" y="136"/>
                        <a:pt x="170" y="142"/>
                      </a:cubicBezTo>
                      <a:cubicBezTo>
                        <a:pt x="163" y="153"/>
                        <a:pt x="146" y="161"/>
                        <a:pt x="134" y="164"/>
                      </a:cubicBezTo>
                      <a:cubicBezTo>
                        <a:pt x="118" y="163"/>
                        <a:pt x="99" y="169"/>
                        <a:pt x="86" y="160"/>
                      </a:cubicBezTo>
                      <a:cubicBezTo>
                        <a:pt x="68" y="148"/>
                        <a:pt x="96" y="159"/>
                        <a:pt x="76" y="152"/>
                      </a:cubicBezTo>
                      <a:cubicBezTo>
                        <a:pt x="59" y="156"/>
                        <a:pt x="77" y="151"/>
                        <a:pt x="60" y="158"/>
                      </a:cubicBezTo>
                      <a:cubicBezTo>
                        <a:pt x="56" y="160"/>
                        <a:pt x="48" y="162"/>
                        <a:pt x="48" y="162"/>
                      </a:cubicBezTo>
                      <a:cubicBezTo>
                        <a:pt x="35" y="160"/>
                        <a:pt x="23" y="156"/>
                        <a:pt x="10" y="154"/>
                      </a:cubicBezTo>
                      <a:cubicBezTo>
                        <a:pt x="7" y="142"/>
                        <a:pt x="9" y="149"/>
                        <a:pt x="4" y="134"/>
                      </a:cubicBezTo>
                      <a:cubicBezTo>
                        <a:pt x="3" y="130"/>
                        <a:pt x="0" y="122"/>
                        <a:pt x="0" y="122"/>
                      </a:cubicBezTo>
                      <a:cubicBezTo>
                        <a:pt x="2" y="95"/>
                        <a:pt x="11" y="60"/>
                        <a:pt x="36" y="44"/>
                      </a:cubicBezTo>
                      <a:cubicBezTo>
                        <a:pt x="42" y="35"/>
                        <a:pt x="45" y="28"/>
                        <a:pt x="54" y="22"/>
                      </a:cubicBezTo>
                      <a:cubicBezTo>
                        <a:pt x="57" y="14"/>
                        <a:pt x="63" y="7"/>
                        <a:pt x="68" y="0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66" name="Freeform 85"/>
                <p:cNvSpPr>
                  <a:spLocks/>
                </p:cNvSpPr>
                <p:nvPr/>
              </p:nvSpPr>
              <p:spPr bwMode="gray">
                <a:xfrm>
                  <a:off x="570" y="2676"/>
                  <a:ext cx="141" cy="159"/>
                </a:xfrm>
                <a:custGeom>
                  <a:avLst/>
                  <a:gdLst>
                    <a:gd name="T0" fmla="*/ 20 w 141"/>
                    <a:gd name="T1" fmla="*/ 28 h 159"/>
                    <a:gd name="T2" fmla="*/ 38 w 141"/>
                    <a:gd name="T3" fmla="*/ 20 h 159"/>
                    <a:gd name="T4" fmla="*/ 50 w 141"/>
                    <a:gd name="T5" fmla="*/ 4 h 159"/>
                    <a:gd name="T6" fmla="*/ 62 w 141"/>
                    <a:gd name="T7" fmla="*/ 0 h 159"/>
                    <a:gd name="T8" fmla="*/ 96 w 141"/>
                    <a:gd name="T9" fmla="*/ 12 h 159"/>
                    <a:gd name="T10" fmla="*/ 122 w 141"/>
                    <a:gd name="T11" fmla="*/ 12 h 159"/>
                    <a:gd name="T12" fmla="*/ 136 w 141"/>
                    <a:gd name="T13" fmla="*/ 28 h 159"/>
                    <a:gd name="T14" fmla="*/ 124 w 141"/>
                    <a:gd name="T15" fmla="*/ 48 h 159"/>
                    <a:gd name="T16" fmla="*/ 122 w 141"/>
                    <a:gd name="T17" fmla="*/ 82 h 159"/>
                    <a:gd name="T18" fmla="*/ 112 w 141"/>
                    <a:gd name="T19" fmla="*/ 132 h 159"/>
                    <a:gd name="T20" fmla="*/ 52 w 141"/>
                    <a:gd name="T21" fmla="*/ 154 h 159"/>
                    <a:gd name="T22" fmla="*/ 40 w 141"/>
                    <a:gd name="T23" fmla="*/ 158 h 159"/>
                    <a:gd name="T24" fmla="*/ 36 w 141"/>
                    <a:gd name="T25" fmla="*/ 146 h 159"/>
                    <a:gd name="T26" fmla="*/ 22 w 141"/>
                    <a:gd name="T27" fmla="*/ 124 h 159"/>
                    <a:gd name="T28" fmla="*/ 6 w 141"/>
                    <a:gd name="T29" fmla="*/ 100 h 159"/>
                    <a:gd name="T30" fmla="*/ 0 w 141"/>
                    <a:gd name="T31" fmla="*/ 82 h 159"/>
                    <a:gd name="T32" fmla="*/ 2 w 141"/>
                    <a:gd name="T33" fmla="*/ 76 h 159"/>
                    <a:gd name="T34" fmla="*/ 14 w 141"/>
                    <a:gd name="T35" fmla="*/ 72 h 159"/>
                    <a:gd name="T36" fmla="*/ 16 w 141"/>
                    <a:gd name="T37" fmla="*/ 56 h 159"/>
                    <a:gd name="T38" fmla="*/ 12 w 141"/>
                    <a:gd name="T39" fmla="*/ 44 h 159"/>
                    <a:gd name="T40" fmla="*/ 14 w 141"/>
                    <a:gd name="T41" fmla="*/ 32 h 159"/>
                    <a:gd name="T42" fmla="*/ 26 w 141"/>
                    <a:gd name="T43" fmla="*/ 26 h 159"/>
                    <a:gd name="T44" fmla="*/ 20 w 141"/>
                    <a:gd name="T45" fmla="*/ 28 h 159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0" t="0" r="r" b="b"/>
                  <a:pathLst>
                    <a:path w="141" h="159">
                      <a:moveTo>
                        <a:pt x="20" y="28"/>
                      </a:moveTo>
                      <a:cubicBezTo>
                        <a:pt x="34" y="23"/>
                        <a:pt x="28" y="26"/>
                        <a:pt x="38" y="20"/>
                      </a:cubicBezTo>
                      <a:cubicBezTo>
                        <a:pt x="40" y="13"/>
                        <a:pt x="43" y="7"/>
                        <a:pt x="50" y="4"/>
                      </a:cubicBezTo>
                      <a:cubicBezTo>
                        <a:pt x="54" y="2"/>
                        <a:pt x="62" y="0"/>
                        <a:pt x="62" y="0"/>
                      </a:cubicBezTo>
                      <a:cubicBezTo>
                        <a:pt x="74" y="2"/>
                        <a:pt x="86" y="5"/>
                        <a:pt x="96" y="12"/>
                      </a:cubicBezTo>
                      <a:cubicBezTo>
                        <a:pt x="101" y="27"/>
                        <a:pt x="112" y="15"/>
                        <a:pt x="122" y="12"/>
                      </a:cubicBezTo>
                      <a:cubicBezTo>
                        <a:pt x="128" y="18"/>
                        <a:pt x="129" y="23"/>
                        <a:pt x="136" y="28"/>
                      </a:cubicBezTo>
                      <a:cubicBezTo>
                        <a:pt x="141" y="42"/>
                        <a:pt x="134" y="42"/>
                        <a:pt x="124" y="48"/>
                      </a:cubicBezTo>
                      <a:cubicBezTo>
                        <a:pt x="116" y="59"/>
                        <a:pt x="118" y="69"/>
                        <a:pt x="122" y="82"/>
                      </a:cubicBezTo>
                      <a:cubicBezTo>
                        <a:pt x="121" y="94"/>
                        <a:pt x="130" y="126"/>
                        <a:pt x="112" y="132"/>
                      </a:cubicBezTo>
                      <a:cubicBezTo>
                        <a:pt x="103" y="146"/>
                        <a:pt x="67" y="153"/>
                        <a:pt x="52" y="154"/>
                      </a:cubicBezTo>
                      <a:cubicBezTo>
                        <a:pt x="48" y="155"/>
                        <a:pt x="44" y="157"/>
                        <a:pt x="40" y="158"/>
                      </a:cubicBezTo>
                      <a:cubicBezTo>
                        <a:pt x="36" y="159"/>
                        <a:pt x="37" y="150"/>
                        <a:pt x="36" y="146"/>
                      </a:cubicBezTo>
                      <a:cubicBezTo>
                        <a:pt x="33" y="136"/>
                        <a:pt x="31" y="130"/>
                        <a:pt x="22" y="124"/>
                      </a:cubicBezTo>
                      <a:cubicBezTo>
                        <a:pt x="18" y="119"/>
                        <a:pt x="8" y="107"/>
                        <a:pt x="6" y="100"/>
                      </a:cubicBezTo>
                      <a:cubicBezTo>
                        <a:pt x="4" y="94"/>
                        <a:pt x="0" y="82"/>
                        <a:pt x="0" y="82"/>
                      </a:cubicBezTo>
                      <a:cubicBezTo>
                        <a:pt x="1" y="80"/>
                        <a:pt x="0" y="77"/>
                        <a:pt x="2" y="76"/>
                      </a:cubicBezTo>
                      <a:cubicBezTo>
                        <a:pt x="5" y="74"/>
                        <a:pt x="14" y="72"/>
                        <a:pt x="14" y="72"/>
                      </a:cubicBezTo>
                      <a:cubicBezTo>
                        <a:pt x="19" y="64"/>
                        <a:pt x="19" y="67"/>
                        <a:pt x="16" y="56"/>
                      </a:cubicBezTo>
                      <a:cubicBezTo>
                        <a:pt x="15" y="52"/>
                        <a:pt x="12" y="44"/>
                        <a:pt x="12" y="44"/>
                      </a:cubicBezTo>
                      <a:cubicBezTo>
                        <a:pt x="13" y="40"/>
                        <a:pt x="12" y="36"/>
                        <a:pt x="14" y="32"/>
                      </a:cubicBezTo>
                      <a:cubicBezTo>
                        <a:pt x="16" y="28"/>
                        <a:pt x="26" y="26"/>
                        <a:pt x="26" y="26"/>
                      </a:cubicBezTo>
                      <a:cubicBezTo>
                        <a:pt x="26" y="26"/>
                        <a:pt x="22" y="27"/>
                        <a:pt x="20" y="28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67" name="Freeform 86"/>
                <p:cNvSpPr>
                  <a:spLocks/>
                </p:cNvSpPr>
                <p:nvPr/>
              </p:nvSpPr>
              <p:spPr bwMode="gray">
                <a:xfrm>
                  <a:off x="482" y="2626"/>
                  <a:ext cx="144" cy="134"/>
                </a:xfrm>
                <a:custGeom>
                  <a:avLst/>
                  <a:gdLst>
                    <a:gd name="T0" fmla="*/ 72 w 144"/>
                    <a:gd name="T1" fmla="*/ 18 h 134"/>
                    <a:gd name="T2" fmla="*/ 92 w 144"/>
                    <a:gd name="T3" fmla="*/ 10 h 134"/>
                    <a:gd name="T4" fmla="*/ 110 w 144"/>
                    <a:gd name="T5" fmla="*/ 4 h 134"/>
                    <a:gd name="T6" fmla="*/ 124 w 144"/>
                    <a:gd name="T7" fmla="*/ 20 h 134"/>
                    <a:gd name="T8" fmla="*/ 136 w 144"/>
                    <a:gd name="T9" fmla="*/ 28 h 134"/>
                    <a:gd name="T10" fmla="*/ 142 w 144"/>
                    <a:gd name="T11" fmla="*/ 46 h 134"/>
                    <a:gd name="T12" fmla="*/ 144 w 144"/>
                    <a:gd name="T13" fmla="*/ 52 h 134"/>
                    <a:gd name="T14" fmla="*/ 132 w 144"/>
                    <a:gd name="T15" fmla="*/ 68 h 134"/>
                    <a:gd name="T16" fmla="*/ 106 w 144"/>
                    <a:gd name="T17" fmla="*/ 84 h 134"/>
                    <a:gd name="T18" fmla="*/ 88 w 144"/>
                    <a:gd name="T19" fmla="*/ 134 h 134"/>
                    <a:gd name="T20" fmla="*/ 70 w 144"/>
                    <a:gd name="T21" fmla="*/ 110 h 134"/>
                    <a:gd name="T22" fmla="*/ 58 w 144"/>
                    <a:gd name="T23" fmla="*/ 102 h 134"/>
                    <a:gd name="T24" fmla="*/ 20 w 144"/>
                    <a:gd name="T25" fmla="*/ 70 h 134"/>
                    <a:gd name="T26" fmla="*/ 4 w 144"/>
                    <a:gd name="T27" fmla="*/ 58 h 134"/>
                    <a:gd name="T28" fmla="*/ 16 w 144"/>
                    <a:gd name="T29" fmla="*/ 40 h 134"/>
                    <a:gd name="T30" fmla="*/ 38 w 144"/>
                    <a:gd name="T31" fmla="*/ 14 h 134"/>
                    <a:gd name="T32" fmla="*/ 54 w 144"/>
                    <a:gd name="T33" fmla="*/ 0 h 134"/>
                    <a:gd name="T34" fmla="*/ 72 w 144"/>
                    <a:gd name="T35" fmla="*/ 18 h 134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0" t="0" r="r" b="b"/>
                  <a:pathLst>
                    <a:path w="144" h="134">
                      <a:moveTo>
                        <a:pt x="72" y="18"/>
                      </a:moveTo>
                      <a:cubicBezTo>
                        <a:pt x="80" y="16"/>
                        <a:pt x="85" y="13"/>
                        <a:pt x="92" y="10"/>
                      </a:cubicBezTo>
                      <a:cubicBezTo>
                        <a:pt x="98" y="7"/>
                        <a:pt x="110" y="4"/>
                        <a:pt x="110" y="4"/>
                      </a:cubicBezTo>
                      <a:cubicBezTo>
                        <a:pt x="114" y="9"/>
                        <a:pt x="119" y="16"/>
                        <a:pt x="124" y="20"/>
                      </a:cubicBezTo>
                      <a:cubicBezTo>
                        <a:pt x="128" y="23"/>
                        <a:pt x="136" y="28"/>
                        <a:pt x="136" y="28"/>
                      </a:cubicBezTo>
                      <a:cubicBezTo>
                        <a:pt x="138" y="34"/>
                        <a:pt x="140" y="40"/>
                        <a:pt x="142" y="46"/>
                      </a:cubicBezTo>
                      <a:cubicBezTo>
                        <a:pt x="143" y="48"/>
                        <a:pt x="144" y="52"/>
                        <a:pt x="144" y="52"/>
                      </a:cubicBezTo>
                      <a:cubicBezTo>
                        <a:pt x="141" y="60"/>
                        <a:pt x="139" y="63"/>
                        <a:pt x="132" y="68"/>
                      </a:cubicBezTo>
                      <a:cubicBezTo>
                        <a:pt x="127" y="83"/>
                        <a:pt x="121" y="82"/>
                        <a:pt x="106" y="84"/>
                      </a:cubicBezTo>
                      <a:cubicBezTo>
                        <a:pt x="108" y="108"/>
                        <a:pt x="113" y="126"/>
                        <a:pt x="88" y="134"/>
                      </a:cubicBezTo>
                      <a:cubicBezTo>
                        <a:pt x="79" y="128"/>
                        <a:pt x="79" y="117"/>
                        <a:pt x="70" y="110"/>
                      </a:cubicBezTo>
                      <a:cubicBezTo>
                        <a:pt x="66" y="107"/>
                        <a:pt x="58" y="102"/>
                        <a:pt x="58" y="102"/>
                      </a:cubicBezTo>
                      <a:cubicBezTo>
                        <a:pt x="50" y="79"/>
                        <a:pt x="45" y="73"/>
                        <a:pt x="20" y="70"/>
                      </a:cubicBezTo>
                      <a:cubicBezTo>
                        <a:pt x="12" y="67"/>
                        <a:pt x="11" y="62"/>
                        <a:pt x="4" y="58"/>
                      </a:cubicBezTo>
                      <a:cubicBezTo>
                        <a:pt x="0" y="47"/>
                        <a:pt x="6" y="43"/>
                        <a:pt x="16" y="40"/>
                      </a:cubicBezTo>
                      <a:cubicBezTo>
                        <a:pt x="26" y="30"/>
                        <a:pt x="31" y="28"/>
                        <a:pt x="38" y="14"/>
                      </a:cubicBezTo>
                      <a:cubicBezTo>
                        <a:pt x="41" y="8"/>
                        <a:pt x="54" y="0"/>
                        <a:pt x="54" y="0"/>
                      </a:cubicBezTo>
                      <a:cubicBezTo>
                        <a:pt x="63" y="6"/>
                        <a:pt x="59" y="18"/>
                        <a:pt x="72" y="18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68" name="Freeform 87"/>
                <p:cNvSpPr>
                  <a:spLocks/>
                </p:cNvSpPr>
                <p:nvPr/>
              </p:nvSpPr>
              <p:spPr bwMode="gray">
                <a:xfrm>
                  <a:off x="502" y="2509"/>
                  <a:ext cx="142" cy="137"/>
                </a:xfrm>
                <a:custGeom>
                  <a:avLst/>
                  <a:gdLst>
                    <a:gd name="T0" fmla="*/ 38 w 142"/>
                    <a:gd name="T1" fmla="*/ 11 h 137"/>
                    <a:gd name="T2" fmla="*/ 60 w 142"/>
                    <a:gd name="T3" fmla="*/ 19 h 137"/>
                    <a:gd name="T4" fmla="*/ 92 w 142"/>
                    <a:gd name="T5" fmla="*/ 15 h 137"/>
                    <a:gd name="T6" fmla="*/ 118 w 142"/>
                    <a:gd name="T7" fmla="*/ 43 h 137"/>
                    <a:gd name="T8" fmla="*/ 130 w 142"/>
                    <a:gd name="T9" fmla="*/ 61 h 137"/>
                    <a:gd name="T10" fmla="*/ 142 w 142"/>
                    <a:gd name="T11" fmla="*/ 65 h 137"/>
                    <a:gd name="T12" fmla="*/ 126 w 142"/>
                    <a:gd name="T13" fmla="*/ 85 h 137"/>
                    <a:gd name="T14" fmla="*/ 122 w 142"/>
                    <a:gd name="T15" fmla="*/ 99 h 137"/>
                    <a:gd name="T16" fmla="*/ 102 w 142"/>
                    <a:gd name="T17" fmla="*/ 103 h 137"/>
                    <a:gd name="T18" fmla="*/ 94 w 142"/>
                    <a:gd name="T19" fmla="*/ 127 h 137"/>
                    <a:gd name="T20" fmla="*/ 70 w 142"/>
                    <a:gd name="T21" fmla="*/ 129 h 137"/>
                    <a:gd name="T22" fmla="*/ 48 w 142"/>
                    <a:gd name="T23" fmla="*/ 135 h 137"/>
                    <a:gd name="T24" fmla="*/ 34 w 142"/>
                    <a:gd name="T25" fmla="*/ 121 h 137"/>
                    <a:gd name="T26" fmla="*/ 22 w 142"/>
                    <a:gd name="T27" fmla="*/ 87 h 137"/>
                    <a:gd name="T28" fmla="*/ 8 w 142"/>
                    <a:gd name="T29" fmla="*/ 63 h 137"/>
                    <a:gd name="T30" fmla="*/ 4 w 142"/>
                    <a:gd name="T31" fmla="*/ 41 h 137"/>
                    <a:gd name="T32" fmla="*/ 0 w 142"/>
                    <a:gd name="T33" fmla="*/ 29 h 137"/>
                    <a:gd name="T34" fmla="*/ 38 w 142"/>
                    <a:gd name="T35" fmla="*/ 11 h 137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0" t="0" r="r" b="b"/>
                  <a:pathLst>
                    <a:path w="142" h="137">
                      <a:moveTo>
                        <a:pt x="38" y="11"/>
                      </a:moveTo>
                      <a:cubicBezTo>
                        <a:pt x="46" y="14"/>
                        <a:pt x="51" y="17"/>
                        <a:pt x="60" y="19"/>
                      </a:cubicBezTo>
                      <a:cubicBezTo>
                        <a:pt x="71" y="26"/>
                        <a:pt x="82" y="22"/>
                        <a:pt x="92" y="15"/>
                      </a:cubicBezTo>
                      <a:cubicBezTo>
                        <a:pt x="102" y="0"/>
                        <a:pt x="106" y="35"/>
                        <a:pt x="118" y="43"/>
                      </a:cubicBezTo>
                      <a:cubicBezTo>
                        <a:pt x="122" y="49"/>
                        <a:pt x="123" y="59"/>
                        <a:pt x="130" y="61"/>
                      </a:cubicBezTo>
                      <a:cubicBezTo>
                        <a:pt x="134" y="62"/>
                        <a:pt x="142" y="65"/>
                        <a:pt x="142" y="65"/>
                      </a:cubicBezTo>
                      <a:cubicBezTo>
                        <a:pt x="139" y="73"/>
                        <a:pt x="132" y="76"/>
                        <a:pt x="126" y="85"/>
                      </a:cubicBezTo>
                      <a:cubicBezTo>
                        <a:pt x="123" y="89"/>
                        <a:pt x="125" y="95"/>
                        <a:pt x="122" y="99"/>
                      </a:cubicBezTo>
                      <a:cubicBezTo>
                        <a:pt x="118" y="104"/>
                        <a:pt x="109" y="102"/>
                        <a:pt x="102" y="103"/>
                      </a:cubicBezTo>
                      <a:cubicBezTo>
                        <a:pt x="96" y="111"/>
                        <a:pt x="96" y="117"/>
                        <a:pt x="94" y="127"/>
                      </a:cubicBezTo>
                      <a:cubicBezTo>
                        <a:pt x="84" y="125"/>
                        <a:pt x="80" y="126"/>
                        <a:pt x="70" y="129"/>
                      </a:cubicBezTo>
                      <a:cubicBezTo>
                        <a:pt x="62" y="137"/>
                        <a:pt x="60" y="137"/>
                        <a:pt x="48" y="135"/>
                      </a:cubicBezTo>
                      <a:cubicBezTo>
                        <a:pt x="39" y="121"/>
                        <a:pt x="45" y="125"/>
                        <a:pt x="34" y="121"/>
                      </a:cubicBezTo>
                      <a:cubicBezTo>
                        <a:pt x="32" y="102"/>
                        <a:pt x="36" y="96"/>
                        <a:pt x="22" y="87"/>
                      </a:cubicBezTo>
                      <a:cubicBezTo>
                        <a:pt x="16" y="79"/>
                        <a:pt x="11" y="72"/>
                        <a:pt x="8" y="63"/>
                      </a:cubicBezTo>
                      <a:cubicBezTo>
                        <a:pt x="7" y="53"/>
                        <a:pt x="7" y="50"/>
                        <a:pt x="4" y="41"/>
                      </a:cubicBezTo>
                      <a:cubicBezTo>
                        <a:pt x="3" y="37"/>
                        <a:pt x="0" y="29"/>
                        <a:pt x="0" y="29"/>
                      </a:cubicBezTo>
                      <a:cubicBezTo>
                        <a:pt x="4" y="16"/>
                        <a:pt x="26" y="11"/>
                        <a:pt x="38" y="11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69" name="Freeform 88"/>
                <p:cNvSpPr>
                  <a:spLocks/>
                </p:cNvSpPr>
                <p:nvPr/>
              </p:nvSpPr>
              <p:spPr bwMode="gray">
                <a:xfrm>
                  <a:off x="447" y="2430"/>
                  <a:ext cx="166" cy="110"/>
                </a:xfrm>
                <a:custGeom>
                  <a:avLst/>
                  <a:gdLst>
                    <a:gd name="T0" fmla="*/ 11 w 166"/>
                    <a:gd name="T1" fmla="*/ 68 h 110"/>
                    <a:gd name="T2" fmla="*/ 9 w 166"/>
                    <a:gd name="T3" fmla="*/ 38 h 110"/>
                    <a:gd name="T4" fmla="*/ 5 w 166"/>
                    <a:gd name="T5" fmla="*/ 26 h 110"/>
                    <a:gd name="T6" fmla="*/ 17 w 166"/>
                    <a:gd name="T7" fmla="*/ 10 h 110"/>
                    <a:gd name="T8" fmla="*/ 29 w 166"/>
                    <a:gd name="T9" fmla="*/ 6 h 110"/>
                    <a:gd name="T10" fmla="*/ 53 w 166"/>
                    <a:gd name="T11" fmla="*/ 16 h 110"/>
                    <a:gd name="T12" fmla="*/ 125 w 166"/>
                    <a:gd name="T13" fmla="*/ 0 h 110"/>
                    <a:gd name="T14" fmla="*/ 129 w 166"/>
                    <a:gd name="T15" fmla="*/ 26 h 110"/>
                    <a:gd name="T16" fmla="*/ 161 w 166"/>
                    <a:gd name="T17" fmla="*/ 36 h 110"/>
                    <a:gd name="T18" fmla="*/ 147 w 166"/>
                    <a:gd name="T19" fmla="*/ 98 h 110"/>
                    <a:gd name="T20" fmla="*/ 117 w 166"/>
                    <a:gd name="T21" fmla="*/ 104 h 110"/>
                    <a:gd name="T22" fmla="*/ 99 w 166"/>
                    <a:gd name="T23" fmla="*/ 96 h 110"/>
                    <a:gd name="T24" fmla="*/ 61 w 166"/>
                    <a:gd name="T25" fmla="*/ 100 h 110"/>
                    <a:gd name="T26" fmla="*/ 51 w 166"/>
                    <a:gd name="T27" fmla="*/ 108 h 110"/>
                    <a:gd name="T28" fmla="*/ 15 w 166"/>
                    <a:gd name="T29" fmla="*/ 102 h 110"/>
                    <a:gd name="T30" fmla="*/ 11 w 166"/>
                    <a:gd name="T31" fmla="*/ 68 h 110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0" t="0" r="r" b="b"/>
                  <a:pathLst>
                    <a:path w="166" h="110">
                      <a:moveTo>
                        <a:pt x="11" y="68"/>
                      </a:moveTo>
                      <a:cubicBezTo>
                        <a:pt x="10" y="58"/>
                        <a:pt x="10" y="48"/>
                        <a:pt x="9" y="38"/>
                      </a:cubicBezTo>
                      <a:cubicBezTo>
                        <a:pt x="8" y="34"/>
                        <a:pt x="5" y="26"/>
                        <a:pt x="5" y="26"/>
                      </a:cubicBezTo>
                      <a:cubicBezTo>
                        <a:pt x="7" y="21"/>
                        <a:pt x="13" y="13"/>
                        <a:pt x="17" y="10"/>
                      </a:cubicBezTo>
                      <a:cubicBezTo>
                        <a:pt x="21" y="8"/>
                        <a:pt x="29" y="6"/>
                        <a:pt x="29" y="6"/>
                      </a:cubicBezTo>
                      <a:cubicBezTo>
                        <a:pt x="38" y="9"/>
                        <a:pt x="45" y="11"/>
                        <a:pt x="53" y="16"/>
                      </a:cubicBezTo>
                      <a:cubicBezTo>
                        <a:pt x="106" y="13"/>
                        <a:pt x="90" y="12"/>
                        <a:pt x="125" y="0"/>
                      </a:cubicBezTo>
                      <a:cubicBezTo>
                        <a:pt x="128" y="8"/>
                        <a:pt x="125" y="18"/>
                        <a:pt x="129" y="26"/>
                      </a:cubicBezTo>
                      <a:cubicBezTo>
                        <a:pt x="131" y="30"/>
                        <a:pt x="155" y="34"/>
                        <a:pt x="161" y="36"/>
                      </a:cubicBezTo>
                      <a:cubicBezTo>
                        <a:pt x="166" y="52"/>
                        <a:pt x="162" y="88"/>
                        <a:pt x="147" y="98"/>
                      </a:cubicBezTo>
                      <a:cubicBezTo>
                        <a:pt x="139" y="110"/>
                        <a:pt x="133" y="106"/>
                        <a:pt x="117" y="104"/>
                      </a:cubicBezTo>
                      <a:cubicBezTo>
                        <a:pt x="110" y="102"/>
                        <a:pt x="106" y="98"/>
                        <a:pt x="99" y="96"/>
                      </a:cubicBezTo>
                      <a:cubicBezTo>
                        <a:pt x="86" y="97"/>
                        <a:pt x="71" y="92"/>
                        <a:pt x="61" y="100"/>
                      </a:cubicBezTo>
                      <a:cubicBezTo>
                        <a:pt x="48" y="110"/>
                        <a:pt x="66" y="103"/>
                        <a:pt x="51" y="108"/>
                      </a:cubicBezTo>
                      <a:cubicBezTo>
                        <a:pt x="29" y="102"/>
                        <a:pt x="40" y="105"/>
                        <a:pt x="15" y="102"/>
                      </a:cubicBezTo>
                      <a:cubicBezTo>
                        <a:pt x="10" y="94"/>
                        <a:pt x="0" y="72"/>
                        <a:pt x="11" y="68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70" name="Freeform 89"/>
                <p:cNvSpPr>
                  <a:spLocks/>
                </p:cNvSpPr>
                <p:nvPr/>
              </p:nvSpPr>
              <p:spPr bwMode="gray">
                <a:xfrm>
                  <a:off x="313" y="2431"/>
                  <a:ext cx="153" cy="142"/>
                </a:xfrm>
                <a:custGeom>
                  <a:avLst/>
                  <a:gdLst>
                    <a:gd name="T0" fmla="*/ 57 w 153"/>
                    <a:gd name="T1" fmla="*/ 21 h 142"/>
                    <a:gd name="T2" fmla="*/ 81 w 153"/>
                    <a:gd name="T3" fmla="*/ 25 h 142"/>
                    <a:gd name="T4" fmla="*/ 95 w 153"/>
                    <a:gd name="T5" fmla="*/ 11 h 142"/>
                    <a:gd name="T6" fmla="*/ 141 w 153"/>
                    <a:gd name="T7" fmla="*/ 19 h 142"/>
                    <a:gd name="T8" fmla="*/ 145 w 153"/>
                    <a:gd name="T9" fmla="*/ 33 h 142"/>
                    <a:gd name="T10" fmla="*/ 149 w 153"/>
                    <a:gd name="T11" fmla="*/ 53 h 142"/>
                    <a:gd name="T12" fmla="*/ 147 w 153"/>
                    <a:gd name="T13" fmla="*/ 83 h 142"/>
                    <a:gd name="T14" fmla="*/ 153 w 153"/>
                    <a:gd name="T15" fmla="*/ 101 h 142"/>
                    <a:gd name="T16" fmla="*/ 133 w 153"/>
                    <a:gd name="T17" fmla="*/ 117 h 142"/>
                    <a:gd name="T18" fmla="*/ 69 w 153"/>
                    <a:gd name="T19" fmla="*/ 139 h 142"/>
                    <a:gd name="T20" fmla="*/ 55 w 153"/>
                    <a:gd name="T21" fmla="*/ 131 h 142"/>
                    <a:gd name="T22" fmla="*/ 61 w 153"/>
                    <a:gd name="T23" fmla="*/ 109 h 142"/>
                    <a:gd name="T24" fmla="*/ 43 w 153"/>
                    <a:gd name="T25" fmla="*/ 93 h 142"/>
                    <a:gd name="T26" fmla="*/ 25 w 153"/>
                    <a:gd name="T27" fmla="*/ 79 h 142"/>
                    <a:gd name="T28" fmla="*/ 5 w 153"/>
                    <a:gd name="T29" fmla="*/ 61 h 142"/>
                    <a:gd name="T30" fmla="*/ 11 w 153"/>
                    <a:gd name="T31" fmla="*/ 39 h 142"/>
                    <a:gd name="T32" fmla="*/ 27 w 153"/>
                    <a:gd name="T33" fmla="*/ 15 h 142"/>
                    <a:gd name="T34" fmla="*/ 57 w 153"/>
                    <a:gd name="T35" fmla="*/ 21 h 142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0" t="0" r="r" b="b"/>
                  <a:pathLst>
                    <a:path w="153" h="142">
                      <a:moveTo>
                        <a:pt x="57" y="21"/>
                      </a:moveTo>
                      <a:cubicBezTo>
                        <a:pt x="67" y="28"/>
                        <a:pt x="69" y="27"/>
                        <a:pt x="81" y="25"/>
                      </a:cubicBezTo>
                      <a:cubicBezTo>
                        <a:pt x="95" y="16"/>
                        <a:pt x="91" y="22"/>
                        <a:pt x="95" y="11"/>
                      </a:cubicBezTo>
                      <a:cubicBezTo>
                        <a:pt x="110" y="14"/>
                        <a:pt x="125" y="17"/>
                        <a:pt x="141" y="19"/>
                      </a:cubicBezTo>
                      <a:cubicBezTo>
                        <a:pt x="153" y="23"/>
                        <a:pt x="144" y="18"/>
                        <a:pt x="145" y="33"/>
                      </a:cubicBezTo>
                      <a:cubicBezTo>
                        <a:pt x="145" y="40"/>
                        <a:pt x="149" y="53"/>
                        <a:pt x="149" y="53"/>
                      </a:cubicBezTo>
                      <a:cubicBezTo>
                        <a:pt x="147" y="65"/>
                        <a:pt x="144" y="70"/>
                        <a:pt x="147" y="83"/>
                      </a:cubicBezTo>
                      <a:cubicBezTo>
                        <a:pt x="148" y="89"/>
                        <a:pt x="153" y="101"/>
                        <a:pt x="153" y="101"/>
                      </a:cubicBezTo>
                      <a:cubicBezTo>
                        <a:pt x="149" y="112"/>
                        <a:pt x="141" y="112"/>
                        <a:pt x="133" y="117"/>
                      </a:cubicBezTo>
                      <a:cubicBezTo>
                        <a:pt x="102" y="134"/>
                        <a:pt x="109" y="136"/>
                        <a:pt x="69" y="139"/>
                      </a:cubicBezTo>
                      <a:cubicBezTo>
                        <a:pt x="60" y="142"/>
                        <a:pt x="58" y="139"/>
                        <a:pt x="55" y="131"/>
                      </a:cubicBezTo>
                      <a:cubicBezTo>
                        <a:pt x="56" y="124"/>
                        <a:pt x="61" y="109"/>
                        <a:pt x="61" y="109"/>
                      </a:cubicBezTo>
                      <a:cubicBezTo>
                        <a:pt x="59" y="102"/>
                        <a:pt x="50" y="95"/>
                        <a:pt x="43" y="93"/>
                      </a:cubicBezTo>
                      <a:cubicBezTo>
                        <a:pt x="38" y="88"/>
                        <a:pt x="25" y="79"/>
                        <a:pt x="25" y="79"/>
                      </a:cubicBezTo>
                      <a:cubicBezTo>
                        <a:pt x="21" y="71"/>
                        <a:pt x="13" y="64"/>
                        <a:pt x="5" y="61"/>
                      </a:cubicBezTo>
                      <a:cubicBezTo>
                        <a:pt x="2" y="52"/>
                        <a:pt x="0" y="43"/>
                        <a:pt x="11" y="39"/>
                      </a:cubicBezTo>
                      <a:cubicBezTo>
                        <a:pt x="15" y="27"/>
                        <a:pt x="16" y="22"/>
                        <a:pt x="27" y="15"/>
                      </a:cubicBezTo>
                      <a:cubicBezTo>
                        <a:pt x="37" y="0"/>
                        <a:pt x="76" y="27"/>
                        <a:pt x="57" y="21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71" name="Freeform 90"/>
                <p:cNvSpPr>
                  <a:spLocks/>
                </p:cNvSpPr>
                <p:nvPr/>
              </p:nvSpPr>
              <p:spPr bwMode="gray">
                <a:xfrm>
                  <a:off x="412" y="2532"/>
                  <a:ext cx="130" cy="144"/>
                </a:xfrm>
                <a:custGeom>
                  <a:avLst/>
                  <a:gdLst>
                    <a:gd name="T0" fmla="*/ 18 w 130"/>
                    <a:gd name="T1" fmla="*/ 62 h 144"/>
                    <a:gd name="T2" fmla="*/ 8 w 130"/>
                    <a:gd name="T3" fmla="*/ 50 h 144"/>
                    <a:gd name="T4" fmla="*/ 0 w 130"/>
                    <a:gd name="T5" fmla="*/ 38 h 144"/>
                    <a:gd name="T6" fmla="*/ 26 w 130"/>
                    <a:gd name="T7" fmla="*/ 20 h 144"/>
                    <a:gd name="T8" fmla="*/ 42 w 130"/>
                    <a:gd name="T9" fmla="*/ 6 h 144"/>
                    <a:gd name="T10" fmla="*/ 60 w 130"/>
                    <a:gd name="T11" fmla="*/ 0 h 144"/>
                    <a:gd name="T12" fmla="*/ 100 w 130"/>
                    <a:gd name="T13" fmla="*/ 6 h 144"/>
                    <a:gd name="T14" fmla="*/ 104 w 130"/>
                    <a:gd name="T15" fmla="*/ 40 h 144"/>
                    <a:gd name="T16" fmla="*/ 122 w 130"/>
                    <a:gd name="T17" fmla="*/ 60 h 144"/>
                    <a:gd name="T18" fmla="*/ 130 w 130"/>
                    <a:gd name="T19" fmla="*/ 78 h 144"/>
                    <a:gd name="T20" fmla="*/ 108 w 130"/>
                    <a:gd name="T21" fmla="*/ 114 h 144"/>
                    <a:gd name="T22" fmla="*/ 84 w 130"/>
                    <a:gd name="T23" fmla="*/ 138 h 144"/>
                    <a:gd name="T24" fmla="*/ 64 w 130"/>
                    <a:gd name="T25" fmla="*/ 136 h 144"/>
                    <a:gd name="T26" fmla="*/ 50 w 130"/>
                    <a:gd name="T27" fmla="*/ 106 h 144"/>
                    <a:gd name="T28" fmla="*/ 34 w 130"/>
                    <a:gd name="T29" fmla="*/ 88 h 144"/>
                    <a:gd name="T30" fmla="*/ 12 w 130"/>
                    <a:gd name="T31" fmla="*/ 50 h 144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0" t="0" r="r" b="b"/>
                  <a:pathLst>
                    <a:path w="130" h="144">
                      <a:moveTo>
                        <a:pt x="18" y="62"/>
                      </a:moveTo>
                      <a:cubicBezTo>
                        <a:pt x="4" y="41"/>
                        <a:pt x="26" y="73"/>
                        <a:pt x="8" y="50"/>
                      </a:cubicBezTo>
                      <a:cubicBezTo>
                        <a:pt x="5" y="46"/>
                        <a:pt x="0" y="38"/>
                        <a:pt x="0" y="38"/>
                      </a:cubicBezTo>
                      <a:cubicBezTo>
                        <a:pt x="3" y="28"/>
                        <a:pt x="17" y="26"/>
                        <a:pt x="26" y="20"/>
                      </a:cubicBezTo>
                      <a:cubicBezTo>
                        <a:pt x="33" y="10"/>
                        <a:pt x="28" y="15"/>
                        <a:pt x="42" y="6"/>
                      </a:cubicBezTo>
                      <a:cubicBezTo>
                        <a:pt x="47" y="2"/>
                        <a:pt x="60" y="0"/>
                        <a:pt x="60" y="0"/>
                      </a:cubicBezTo>
                      <a:cubicBezTo>
                        <a:pt x="73" y="2"/>
                        <a:pt x="87" y="2"/>
                        <a:pt x="100" y="6"/>
                      </a:cubicBezTo>
                      <a:cubicBezTo>
                        <a:pt x="100" y="10"/>
                        <a:pt x="99" y="31"/>
                        <a:pt x="104" y="40"/>
                      </a:cubicBezTo>
                      <a:cubicBezTo>
                        <a:pt x="108" y="48"/>
                        <a:pt x="122" y="60"/>
                        <a:pt x="122" y="60"/>
                      </a:cubicBezTo>
                      <a:cubicBezTo>
                        <a:pt x="126" y="65"/>
                        <a:pt x="130" y="78"/>
                        <a:pt x="130" y="78"/>
                      </a:cubicBezTo>
                      <a:cubicBezTo>
                        <a:pt x="125" y="104"/>
                        <a:pt x="125" y="97"/>
                        <a:pt x="108" y="114"/>
                      </a:cubicBezTo>
                      <a:cubicBezTo>
                        <a:pt x="103" y="129"/>
                        <a:pt x="101" y="135"/>
                        <a:pt x="84" y="138"/>
                      </a:cubicBezTo>
                      <a:cubicBezTo>
                        <a:pt x="76" y="144"/>
                        <a:pt x="72" y="141"/>
                        <a:pt x="64" y="136"/>
                      </a:cubicBezTo>
                      <a:cubicBezTo>
                        <a:pt x="60" y="130"/>
                        <a:pt x="54" y="110"/>
                        <a:pt x="50" y="106"/>
                      </a:cubicBezTo>
                      <a:cubicBezTo>
                        <a:pt x="45" y="101"/>
                        <a:pt x="38" y="95"/>
                        <a:pt x="34" y="88"/>
                      </a:cubicBezTo>
                      <a:cubicBezTo>
                        <a:pt x="28" y="75"/>
                        <a:pt x="23" y="61"/>
                        <a:pt x="12" y="50"/>
                      </a:cubicBezTo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72" name="Freeform 91"/>
                <p:cNvSpPr>
                  <a:spLocks/>
                </p:cNvSpPr>
                <p:nvPr/>
              </p:nvSpPr>
              <p:spPr bwMode="gray">
                <a:xfrm>
                  <a:off x="418" y="2692"/>
                  <a:ext cx="218" cy="200"/>
                </a:xfrm>
                <a:custGeom>
                  <a:avLst/>
                  <a:gdLst>
                    <a:gd name="T0" fmla="*/ 44 w 218"/>
                    <a:gd name="T1" fmla="*/ 30 h 200"/>
                    <a:gd name="T2" fmla="*/ 90 w 218"/>
                    <a:gd name="T3" fmla="*/ 2 h 200"/>
                    <a:gd name="T4" fmla="*/ 114 w 218"/>
                    <a:gd name="T5" fmla="*/ 6 h 200"/>
                    <a:gd name="T6" fmla="*/ 136 w 218"/>
                    <a:gd name="T7" fmla="*/ 32 h 200"/>
                    <a:gd name="T8" fmla="*/ 156 w 218"/>
                    <a:gd name="T9" fmla="*/ 64 h 200"/>
                    <a:gd name="T10" fmla="*/ 172 w 218"/>
                    <a:gd name="T11" fmla="*/ 104 h 200"/>
                    <a:gd name="T12" fmla="*/ 176 w 218"/>
                    <a:gd name="T13" fmla="*/ 110 h 200"/>
                    <a:gd name="T14" fmla="*/ 182 w 218"/>
                    <a:gd name="T15" fmla="*/ 114 h 200"/>
                    <a:gd name="T16" fmla="*/ 190 w 218"/>
                    <a:gd name="T17" fmla="*/ 126 h 200"/>
                    <a:gd name="T18" fmla="*/ 202 w 218"/>
                    <a:gd name="T19" fmla="*/ 144 h 200"/>
                    <a:gd name="T20" fmla="*/ 178 w 218"/>
                    <a:gd name="T21" fmla="*/ 182 h 200"/>
                    <a:gd name="T22" fmla="*/ 156 w 218"/>
                    <a:gd name="T23" fmla="*/ 150 h 200"/>
                    <a:gd name="T24" fmla="*/ 128 w 218"/>
                    <a:gd name="T25" fmla="*/ 156 h 200"/>
                    <a:gd name="T26" fmla="*/ 114 w 218"/>
                    <a:gd name="T27" fmla="*/ 174 h 200"/>
                    <a:gd name="T28" fmla="*/ 110 w 218"/>
                    <a:gd name="T29" fmla="*/ 180 h 200"/>
                    <a:gd name="T30" fmla="*/ 102 w 218"/>
                    <a:gd name="T31" fmla="*/ 196 h 200"/>
                    <a:gd name="T32" fmla="*/ 82 w 218"/>
                    <a:gd name="T33" fmla="*/ 200 h 200"/>
                    <a:gd name="T34" fmla="*/ 36 w 218"/>
                    <a:gd name="T35" fmla="*/ 190 h 200"/>
                    <a:gd name="T36" fmla="*/ 0 w 218"/>
                    <a:gd name="T37" fmla="*/ 150 h 200"/>
                    <a:gd name="T38" fmla="*/ 16 w 218"/>
                    <a:gd name="T39" fmla="*/ 128 h 200"/>
                    <a:gd name="T40" fmla="*/ 36 w 218"/>
                    <a:gd name="T41" fmla="*/ 78 h 200"/>
                    <a:gd name="T42" fmla="*/ 50 w 218"/>
                    <a:gd name="T43" fmla="*/ 48 h 200"/>
                    <a:gd name="T44" fmla="*/ 44 w 218"/>
                    <a:gd name="T45" fmla="*/ 30 h 200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0" t="0" r="r" b="b"/>
                  <a:pathLst>
                    <a:path w="218" h="200">
                      <a:moveTo>
                        <a:pt x="44" y="30"/>
                      </a:moveTo>
                      <a:cubicBezTo>
                        <a:pt x="60" y="25"/>
                        <a:pt x="72" y="8"/>
                        <a:pt x="90" y="2"/>
                      </a:cubicBezTo>
                      <a:cubicBezTo>
                        <a:pt x="98" y="3"/>
                        <a:pt x="108" y="0"/>
                        <a:pt x="114" y="6"/>
                      </a:cubicBezTo>
                      <a:cubicBezTo>
                        <a:pt x="123" y="15"/>
                        <a:pt x="113" y="24"/>
                        <a:pt x="136" y="32"/>
                      </a:cubicBezTo>
                      <a:cubicBezTo>
                        <a:pt x="143" y="42"/>
                        <a:pt x="144" y="60"/>
                        <a:pt x="156" y="64"/>
                      </a:cubicBezTo>
                      <a:cubicBezTo>
                        <a:pt x="165" y="77"/>
                        <a:pt x="158" y="95"/>
                        <a:pt x="172" y="104"/>
                      </a:cubicBezTo>
                      <a:cubicBezTo>
                        <a:pt x="173" y="106"/>
                        <a:pt x="174" y="108"/>
                        <a:pt x="176" y="110"/>
                      </a:cubicBezTo>
                      <a:cubicBezTo>
                        <a:pt x="178" y="112"/>
                        <a:pt x="180" y="112"/>
                        <a:pt x="182" y="114"/>
                      </a:cubicBezTo>
                      <a:cubicBezTo>
                        <a:pt x="185" y="118"/>
                        <a:pt x="190" y="126"/>
                        <a:pt x="190" y="126"/>
                      </a:cubicBezTo>
                      <a:cubicBezTo>
                        <a:pt x="192" y="136"/>
                        <a:pt x="192" y="141"/>
                        <a:pt x="202" y="144"/>
                      </a:cubicBezTo>
                      <a:cubicBezTo>
                        <a:pt x="218" y="169"/>
                        <a:pt x="193" y="172"/>
                        <a:pt x="178" y="182"/>
                      </a:cubicBezTo>
                      <a:cubicBezTo>
                        <a:pt x="168" y="172"/>
                        <a:pt x="164" y="161"/>
                        <a:pt x="156" y="150"/>
                      </a:cubicBezTo>
                      <a:cubicBezTo>
                        <a:pt x="146" y="151"/>
                        <a:pt x="137" y="153"/>
                        <a:pt x="128" y="156"/>
                      </a:cubicBezTo>
                      <a:cubicBezTo>
                        <a:pt x="119" y="165"/>
                        <a:pt x="124" y="160"/>
                        <a:pt x="114" y="174"/>
                      </a:cubicBezTo>
                      <a:cubicBezTo>
                        <a:pt x="113" y="176"/>
                        <a:pt x="110" y="180"/>
                        <a:pt x="110" y="180"/>
                      </a:cubicBezTo>
                      <a:cubicBezTo>
                        <a:pt x="109" y="186"/>
                        <a:pt x="109" y="193"/>
                        <a:pt x="102" y="196"/>
                      </a:cubicBezTo>
                      <a:cubicBezTo>
                        <a:pt x="96" y="198"/>
                        <a:pt x="82" y="200"/>
                        <a:pt x="82" y="200"/>
                      </a:cubicBezTo>
                      <a:cubicBezTo>
                        <a:pt x="66" y="198"/>
                        <a:pt x="51" y="194"/>
                        <a:pt x="36" y="190"/>
                      </a:cubicBezTo>
                      <a:cubicBezTo>
                        <a:pt x="20" y="179"/>
                        <a:pt x="13" y="163"/>
                        <a:pt x="0" y="150"/>
                      </a:cubicBezTo>
                      <a:cubicBezTo>
                        <a:pt x="2" y="136"/>
                        <a:pt x="4" y="134"/>
                        <a:pt x="16" y="128"/>
                      </a:cubicBezTo>
                      <a:cubicBezTo>
                        <a:pt x="31" y="106"/>
                        <a:pt x="25" y="99"/>
                        <a:pt x="36" y="78"/>
                      </a:cubicBezTo>
                      <a:cubicBezTo>
                        <a:pt x="37" y="77"/>
                        <a:pt x="50" y="50"/>
                        <a:pt x="50" y="48"/>
                      </a:cubicBezTo>
                      <a:cubicBezTo>
                        <a:pt x="49" y="42"/>
                        <a:pt x="46" y="36"/>
                        <a:pt x="44" y="30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73" name="Freeform 92"/>
                <p:cNvSpPr>
                  <a:spLocks/>
                </p:cNvSpPr>
                <p:nvPr/>
              </p:nvSpPr>
              <p:spPr bwMode="gray">
                <a:xfrm>
                  <a:off x="342" y="2560"/>
                  <a:ext cx="158" cy="160"/>
                </a:xfrm>
                <a:custGeom>
                  <a:avLst/>
                  <a:gdLst>
                    <a:gd name="T0" fmla="*/ 18 w 158"/>
                    <a:gd name="T1" fmla="*/ 28 h 160"/>
                    <a:gd name="T2" fmla="*/ 38 w 158"/>
                    <a:gd name="T3" fmla="*/ 8 h 160"/>
                    <a:gd name="T4" fmla="*/ 64 w 158"/>
                    <a:gd name="T5" fmla="*/ 0 h 160"/>
                    <a:gd name="T6" fmla="*/ 78 w 158"/>
                    <a:gd name="T7" fmla="*/ 20 h 160"/>
                    <a:gd name="T8" fmla="*/ 102 w 158"/>
                    <a:gd name="T9" fmla="*/ 48 h 160"/>
                    <a:gd name="T10" fmla="*/ 106 w 158"/>
                    <a:gd name="T11" fmla="*/ 68 h 160"/>
                    <a:gd name="T12" fmla="*/ 118 w 158"/>
                    <a:gd name="T13" fmla="*/ 72 h 160"/>
                    <a:gd name="T14" fmla="*/ 140 w 158"/>
                    <a:gd name="T15" fmla="*/ 112 h 160"/>
                    <a:gd name="T16" fmla="*/ 158 w 158"/>
                    <a:gd name="T17" fmla="*/ 136 h 160"/>
                    <a:gd name="T18" fmla="*/ 124 w 158"/>
                    <a:gd name="T19" fmla="*/ 160 h 160"/>
                    <a:gd name="T20" fmla="*/ 106 w 158"/>
                    <a:gd name="T21" fmla="*/ 150 h 160"/>
                    <a:gd name="T22" fmla="*/ 66 w 158"/>
                    <a:gd name="T23" fmla="*/ 124 h 160"/>
                    <a:gd name="T24" fmla="*/ 18 w 158"/>
                    <a:gd name="T25" fmla="*/ 108 h 160"/>
                    <a:gd name="T26" fmla="*/ 14 w 158"/>
                    <a:gd name="T27" fmla="*/ 82 h 160"/>
                    <a:gd name="T28" fmla="*/ 0 w 158"/>
                    <a:gd name="T29" fmla="*/ 58 h 160"/>
                    <a:gd name="T30" fmla="*/ 2 w 158"/>
                    <a:gd name="T31" fmla="*/ 48 h 160"/>
                    <a:gd name="T32" fmla="*/ 14 w 158"/>
                    <a:gd name="T33" fmla="*/ 40 h 160"/>
                    <a:gd name="T34" fmla="*/ 18 w 158"/>
                    <a:gd name="T35" fmla="*/ 28 h 160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0" t="0" r="r" b="b"/>
                  <a:pathLst>
                    <a:path w="158" h="160">
                      <a:moveTo>
                        <a:pt x="18" y="28"/>
                      </a:moveTo>
                      <a:cubicBezTo>
                        <a:pt x="36" y="25"/>
                        <a:pt x="33" y="24"/>
                        <a:pt x="38" y="8"/>
                      </a:cubicBezTo>
                      <a:cubicBezTo>
                        <a:pt x="39" y="6"/>
                        <a:pt x="60" y="1"/>
                        <a:pt x="64" y="0"/>
                      </a:cubicBezTo>
                      <a:cubicBezTo>
                        <a:pt x="76" y="3"/>
                        <a:pt x="74" y="9"/>
                        <a:pt x="78" y="20"/>
                      </a:cubicBezTo>
                      <a:cubicBezTo>
                        <a:pt x="80" y="26"/>
                        <a:pt x="98" y="36"/>
                        <a:pt x="102" y="48"/>
                      </a:cubicBezTo>
                      <a:cubicBezTo>
                        <a:pt x="103" y="55"/>
                        <a:pt x="100" y="64"/>
                        <a:pt x="106" y="68"/>
                      </a:cubicBezTo>
                      <a:cubicBezTo>
                        <a:pt x="109" y="70"/>
                        <a:pt x="118" y="72"/>
                        <a:pt x="118" y="72"/>
                      </a:cubicBezTo>
                      <a:cubicBezTo>
                        <a:pt x="127" y="85"/>
                        <a:pt x="126" y="103"/>
                        <a:pt x="140" y="112"/>
                      </a:cubicBezTo>
                      <a:cubicBezTo>
                        <a:pt x="145" y="120"/>
                        <a:pt x="150" y="131"/>
                        <a:pt x="158" y="136"/>
                      </a:cubicBezTo>
                      <a:cubicBezTo>
                        <a:pt x="155" y="149"/>
                        <a:pt x="137" y="156"/>
                        <a:pt x="124" y="160"/>
                      </a:cubicBezTo>
                      <a:cubicBezTo>
                        <a:pt x="117" y="158"/>
                        <a:pt x="106" y="150"/>
                        <a:pt x="106" y="150"/>
                      </a:cubicBezTo>
                      <a:cubicBezTo>
                        <a:pt x="99" y="128"/>
                        <a:pt x="90" y="127"/>
                        <a:pt x="66" y="124"/>
                      </a:cubicBezTo>
                      <a:cubicBezTo>
                        <a:pt x="47" y="118"/>
                        <a:pt x="39" y="110"/>
                        <a:pt x="18" y="108"/>
                      </a:cubicBezTo>
                      <a:cubicBezTo>
                        <a:pt x="11" y="98"/>
                        <a:pt x="19" y="95"/>
                        <a:pt x="14" y="82"/>
                      </a:cubicBezTo>
                      <a:cubicBezTo>
                        <a:pt x="11" y="73"/>
                        <a:pt x="3" y="67"/>
                        <a:pt x="0" y="58"/>
                      </a:cubicBezTo>
                      <a:cubicBezTo>
                        <a:pt x="1" y="55"/>
                        <a:pt x="0" y="51"/>
                        <a:pt x="2" y="48"/>
                      </a:cubicBezTo>
                      <a:cubicBezTo>
                        <a:pt x="5" y="44"/>
                        <a:pt x="14" y="40"/>
                        <a:pt x="14" y="40"/>
                      </a:cubicBezTo>
                      <a:cubicBezTo>
                        <a:pt x="16" y="29"/>
                        <a:pt x="14" y="32"/>
                        <a:pt x="18" y="28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74" name="Freeform 93"/>
                <p:cNvSpPr>
                  <a:spLocks/>
                </p:cNvSpPr>
                <p:nvPr/>
              </p:nvSpPr>
              <p:spPr bwMode="gray">
                <a:xfrm>
                  <a:off x="338" y="2662"/>
                  <a:ext cx="134" cy="184"/>
                </a:xfrm>
                <a:custGeom>
                  <a:avLst/>
                  <a:gdLst>
                    <a:gd name="T0" fmla="*/ 0 w 134"/>
                    <a:gd name="T1" fmla="*/ 30 h 184"/>
                    <a:gd name="T2" fmla="*/ 16 w 134"/>
                    <a:gd name="T3" fmla="*/ 16 h 184"/>
                    <a:gd name="T4" fmla="*/ 52 w 134"/>
                    <a:gd name="T5" fmla="*/ 10 h 184"/>
                    <a:gd name="T6" fmla="*/ 80 w 134"/>
                    <a:gd name="T7" fmla="*/ 22 h 184"/>
                    <a:gd name="T8" fmla="*/ 102 w 134"/>
                    <a:gd name="T9" fmla="*/ 24 h 184"/>
                    <a:gd name="T10" fmla="*/ 112 w 134"/>
                    <a:gd name="T11" fmla="*/ 48 h 184"/>
                    <a:gd name="T12" fmla="*/ 124 w 134"/>
                    <a:gd name="T13" fmla="*/ 56 h 184"/>
                    <a:gd name="T14" fmla="*/ 116 w 134"/>
                    <a:gd name="T15" fmla="*/ 102 h 184"/>
                    <a:gd name="T16" fmla="*/ 104 w 134"/>
                    <a:gd name="T17" fmla="*/ 156 h 184"/>
                    <a:gd name="T18" fmla="*/ 92 w 134"/>
                    <a:gd name="T19" fmla="*/ 160 h 184"/>
                    <a:gd name="T20" fmla="*/ 80 w 134"/>
                    <a:gd name="T21" fmla="*/ 170 h 184"/>
                    <a:gd name="T22" fmla="*/ 72 w 134"/>
                    <a:gd name="T23" fmla="*/ 152 h 184"/>
                    <a:gd name="T24" fmla="*/ 56 w 134"/>
                    <a:gd name="T25" fmla="*/ 134 h 184"/>
                    <a:gd name="T26" fmla="*/ 58 w 134"/>
                    <a:gd name="T27" fmla="*/ 116 h 184"/>
                    <a:gd name="T28" fmla="*/ 62 w 134"/>
                    <a:gd name="T29" fmla="*/ 104 h 184"/>
                    <a:gd name="T30" fmla="*/ 44 w 134"/>
                    <a:gd name="T31" fmla="*/ 78 h 184"/>
                    <a:gd name="T32" fmla="*/ 26 w 134"/>
                    <a:gd name="T33" fmla="*/ 72 h 184"/>
                    <a:gd name="T34" fmla="*/ 10 w 134"/>
                    <a:gd name="T35" fmla="*/ 44 h 184"/>
                    <a:gd name="T36" fmla="*/ 0 w 134"/>
                    <a:gd name="T37" fmla="*/ 30 h 184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0" t="0" r="r" b="b"/>
                  <a:pathLst>
                    <a:path w="134" h="184">
                      <a:moveTo>
                        <a:pt x="0" y="30"/>
                      </a:moveTo>
                      <a:cubicBezTo>
                        <a:pt x="5" y="23"/>
                        <a:pt x="10" y="22"/>
                        <a:pt x="16" y="16"/>
                      </a:cubicBezTo>
                      <a:cubicBezTo>
                        <a:pt x="21" y="0"/>
                        <a:pt x="38" y="9"/>
                        <a:pt x="52" y="10"/>
                      </a:cubicBezTo>
                      <a:cubicBezTo>
                        <a:pt x="62" y="13"/>
                        <a:pt x="70" y="19"/>
                        <a:pt x="80" y="22"/>
                      </a:cubicBezTo>
                      <a:cubicBezTo>
                        <a:pt x="88" y="19"/>
                        <a:pt x="94" y="21"/>
                        <a:pt x="102" y="24"/>
                      </a:cubicBezTo>
                      <a:cubicBezTo>
                        <a:pt x="104" y="29"/>
                        <a:pt x="108" y="44"/>
                        <a:pt x="112" y="48"/>
                      </a:cubicBezTo>
                      <a:cubicBezTo>
                        <a:pt x="115" y="51"/>
                        <a:pt x="124" y="56"/>
                        <a:pt x="124" y="56"/>
                      </a:cubicBezTo>
                      <a:cubicBezTo>
                        <a:pt x="134" y="71"/>
                        <a:pt x="131" y="92"/>
                        <a:pt x="116" y="102"/>
                      </a:cubicBezTo>
                      <a:cubicBezTo>
                        <a:pt x="111" y="120"/>
                        <a:pt x="110" y="138"/>
                        <a:pt x="104" y="156"/>
                      </a:cubicBezTo>
                      <a:cubicBezTo>
                        <a:pt x="103" y="160"/>
                        <a:pt x="96" y="158"/>
                        <a:pt x="92" y="160"/>
                      </a:cubicBezTo>
                      <a:cubicBezTo>
                        <a:pt x="84" y="166"/>
                        <a:pt x="88" y="162"/>
                        <a:pt x="80" y="170"/>
                      </a:cubicBezTo>
                      <a:cubicBezTo>
                        <a:pt x="75" y="184"/>
                        <a:pt x="75" y="158"/>
                        <a:pt x="72" y="152"/>
                      </a:cubicBezTo>
                      <a:cubicBezTo>
                        <a:pt x="68" y="145"/>
                        <a:pt x="56" y="134"/>
                        <a:pt x="56" y="134"/>
                      </a:cubicBezTo>
                      <a:cubicBezTo>
                        <a:pt x="53" y="124"/>
                        <a:pt x="53" y="130"/>
                        <a:pt x="58" y="116"/>
                      </a:cubicBezTo>
                      <a:cubicBezTo>
                        <a:pt x="59" y="112"/>
                        <a:pt x="62" y="104"/>
                        <a:pt x="62" y="104"/>
                      </a:cubicBezTo>
                      <a:cubicBezTo>
                        <a:pt x="60" y="88"/>
                        <a:pt x="58" y="84"/>
                        <a:pt x="44" y="78"/>
                      </a:cubicBezTo>
                      <a:cubicBezTo>
                        <a:pt x="38" y="75"/>
                        <a:pt x="26" y="72"/>
                        <a:pt x="26" y="72"/>
                      </a:cubicBezTo>
                      <a:cubicBezTo>
                        <a:pt x="19" y="61"/>
                        <a:pt x="24" y="49"/>
                        <a:pt x="10" y="44"/>
                      </a:cubicBezTo>
                      <a:cubicBezTo>
                        <a:pt x="5" y="39"/>
                        <a:pt x="4" y="34"/>
                        <a:pt x="0" y="30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230" name="Group 94"/>
              <p:cNvGrpSpPr>
                <a:grpSpLocks/>
              </p:cNvGrpSpPr>
              <p:nvPr/>
            </p:nvGrpSpPr>
            <p:grpSpPr bwMode="auto">
              <a:xfrm>
                <a:off x="701675" y="2519363"/>
                <a:ext cx="2809875" cy="1466850"/>
                <a:chOff x="237" y="1607"/>
                <a:chExt cx="1841" cy="961"/>
              </a:xfrm>
              <a:grpFill/>
            </p:grpSpPr>
            <p:sp>
              <p:nvSpPr>
                <p:cNvPr id="245" name="Freeform 95"/>
                <p:cNvSpPr>
                  <a:spLocks/>
                </p:cNvSpPr>
                <p:nvPr/>
              </p:nvSpPr>
              <p:spPr bwMode="gray">
                <a:xfrm>
                  <a:off x="1689" y="1607"/>
                  <a:ext cx="389" cy="367"/>
                </a:xfrm>
                <a:custGeom>
                  <a:avLst/>
                  <a:gdLst>
                    <a:gd name="T0" fmla="*/ 375 w 389"/>
                    <a:gd name="T1" fmla="*/ 4 h 367"/>
                    <a:gd name="T2" fmla="*/ 345 w 389"/>
                    <a:gd name="T3" fmla="*/ 10 h 367"/>
                    <a:gd name="T4" fmla="*/ 315 w 389"/>
                    <a:gd name="T5" fmla="*/ 19 h 367"/>
                    <a:gd name="T6" fmla="*/ 252 w 389"/>
                    <a:gd name="T7" fmla="*/ 37 h 367"/>
                    <a:gd name="T8" fmla="*/ 216 w 389"/>
                    <a:gd name="T9" fmla="*/ 58 h 367"/>
                    <a:gd name="T10" fmla="*/ 177 w 389"/>
                    <a:gd name="T11" fmla="*/ 88 h 367"/>
                    <a:gd name="T12" fmla="*/ 174 w 389"/>
                    <a:gd name="T13" fmla="*/ 97 h 367"/>
                    <a:gd name="T14" fmla="*/ 138 w 389"/>
                    <a:gd name="T15" fmla="*/ 112 h 367"/>
                    <a:gd name="T16" fmla="*/ 105 w 389"/>
                    <a:gd name="T17" fmla="*/ 145 h 367"/>
                    <a:gd name="T18" fmla="*/ 78 w 389"/>
                    <a:gd name="T19" fmla="*/ 175 h 367"/>
                    <a:gd name="T20" fmla="*/ 51 w 389"/>
                    <a:gd name="T21" fmla="*/ 190 h 367"/>
                    <a:gd name="T22" fmla="*/ 18 w 389"/>
                    <a:gd name="T23" fmla="*/ 208 h 367"/>
                    <a:gd name="T24" fmla="*/ 33 w 389"/>
                    <a:gd name="T25" fmla="*/ 280 h 367"/>
                    <a:gd name="T26" fmla="*/ 48 w 389"/>
                    <a:gd name="T27" fmla="*/ 328 h 367"/>
                    <a:gd name="T28" fmla="*/ 72 w 389"/>
                    <a:gd name="T29" fmla="*/ 358 h 367"/>
                    <a:gd name="T30" fmla="*/ 90 w 389"/>
                    <a:gd name="T31" fmla="*/ 364 h 367"/>
                    <a:gd name="T32" fmla="*/ 99 w 389"/>
                    <a:gd name="T33" fmla="*/ 367 h 367"/>
                    <a:gd name="T34" fmla="*/ 108 w 389"/>
                    <a:gd name="T35" fmla="*/ 364 h 367"/>
                    <a:gd name="T36" fmla="*/ 99 w 389"/>
                    <a:gd name="T37" fmla="*/ 301 h 367"/>
                    <a:gd name="T38" fmla="*/ 93 w 389"/>
                    <a:gd name="T39" fmla="*/ 283 h 367"/>
                    <a:gd name="T40" fmla="*/ 135 w 389"/>
                    <a:gd name="T41" fmla="*/ 205 h 367"/>
                    <a:gd name="T42" fmla="*/ 138 w 389"/>
                    <a:gd name="T43" fmla="*/ 196 h 367"/>
                    <a:gd name="T44" fmla="*/ 156 w 389"/>
                    <a:gd name="T45" fmla="*/ 190 h 367"/>
                    <a:gd name="T46" fmla="*/ 192 w 389"/>
                    <a:gd name="T47" fmla="*/ 169 h 367"/>
                    <a:gd name="T48" fmla="*/ 231 w 389"/>
                    <a:gd name="T49" fmla="*/ 139 h 367"/>
                    <a:gd name="T50" fmla="*/ 249 w 389"/>
                    <a:gd name="T51" fmla="*/ 133 h 367"/>
                    <a:gd name="T52" fmla="*/ 294 w 389"/>
                    <a:gd name="T53" fmla="*/ 100 h 367"/>
                    <a:gd name="T54" fmla="*/ 372 w 389"/>
                    <a:gd name="T55" fmla="*/ 52 h 367"/>
                    <a:gd name="T56" fmla="*/ 375 w 389"/>
                    <a:gd name="T57" fmla="*/ 4 h 367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0" t="0" r="r" b="b"/>
                  <a:pathLst>
                    <a:path w="389" h="367">
                      <a:moveTo>
                        <a:pt x="375" y="4"/>
                      </a:moveTo>
                      <a:cubicBezTo>
                        <a:pt x="362" y="0"/>
                        <a:pt x="356" y="3"/>
                        <a:pt x="345" y="10"/>
                      </a:cubicBezTo>
                      <a:cubicBezTo>
                        <a:pt x="336" y="24"/>
                        <a:pt x="332" y="22"/>
                        <a:pt x="315" y="19"/>
                      </a:cubicBezTo>
                      <a:cubicBezTo>
                        <a:pt x="287" y="22"/>
                        <a:pt x="281" y="33"/>
                        <a:pt x="252" y="37"/>
                      </a:cubicBezTo>
                      <a:cubicBezTo>
                        <a:pt x="235" y="43"/>
                        <a:pt x="229" y="45"/>
                        <a:pt x="216" y="58"/>
                      </a:cubicBezTo>
                      <a:cubicBezTo>
                        <a:pt x="206" y="89"/>
                        <a:pt x="221" y="84"/>
                        <a:pt x="177" y="88"/>
                      </a:cubicBezTo>
                      <a:cubicBezTo>
                        <a:pt x="176" y="91"/>
                        <a:pt x="177" y="95"/>
                        <a:pt x="174" y="97"/>
                      </a:cubicBezTo>
                      <a:cubicBezTo>
                        <a:pt x="169" y="101"/>
                        <a:pt x="145" y="110"/>
                        <a:pt x="138" y="112"/>
                      </a:cubicBezTo>
                      <a:cubicBezTo>
                        <a:pt x="127" y="144"/>
                        <a:pt x="140" y="139"/>
                        <a:pt x="105" y="145"/>
                      </a:cubicBezTo>
                      <a:cubicBezTo>
                        <a:pt x="92" y="153"/>
                        <a:pt x="93" y="168"/>
                        <a:pt x="78" y="175"/>
                      </a:cubicBezTo>
                      <a:cubicBezTo>
                        <a:pt x="69" y="180"/>
                        <a:pt x="51" y="190"/>
                        <a:pt x="51" y="190"/>
                      </a:cubicBezTo>
                      <a:cubicBezTo>
                        <a:pt x="46" y="209"/>
                        <a:pt x="38" y="205"/>
                        <a:pt x="18" y="208"/>
                      </a:cubicBezTo>
                      <a:cubicBezTo>
                        <a:pt x="0" y="235"/>
                        <a:pt x="24" y="254"/>
                        <a:pt x="33" y="280"/>
                      </a:cubicBezTo>
                      <a:cubicBezTo>
                        <a:pt x="35" y="300"/>
                        <a:pt x="31" y="317"/>
                        <a:pt x="48" y="328"/>
                      </a:cubicBezTo>
                      <a:cubicBezTo>
                        <a:pt x="54" y="345"/>
                        <a:pt x="52" y="351"/>
                        <a:pt x="72" y="358"/>
                      </a:cubicBezTo>
                      <a:cubicBezTo>
                        <a:pt x="78" y="360"/>
                        <a:pt x="84" y="362"/>
                        <a:pt x="90" y="364"/>
                      </a:cubicBezTo>
                      <a:cubicBezTo>
                        <a:pt x="93" y="365"/>
                        <a:pt x="99" y="367"/>
                        <a:pt x="99" y="367"/>
                      </a:cubicBezTo>
                      <a:cubicBezTo>
                        <a:pt x="102" y="366"/>
                        <a:pt x="107" y="367"/>
                        <a:pt x="108" y="364"/>
                      </a:cubicBezTo>
                      <a:cubicBezTo>
                        <a:pt x="109" y="360"/>
                        <a:pt x="102" y="311"/>
                        <a:pt x="99" y="301"/>
                      </a:cubicBezTo>
                      <a:cubicBezTo>
                        <a:pt x="97" y="295"/>
                        <a:pt x="93" y="283"/>
                        <a:pt x="93" y="283"/>
                      </a:cubicBezTo>
                      <a:cubicBezTo>
                        <a:pt x="101" y="258"/>
                        <a:pt x="112" y="221"/>
                        <a:pt x="135" y="205"/>
                      </a:cubicBezTo>
                      <a:cubicBezTo>
                        <a:pt x="136" y="202"/>
                        <a:pt x="135" y="198"/>
                        <a:pt x="138" y="196"/>
                      </a:cubicBezTo>
                      <a:cubicBezTo>
                        <a:pt x="143" y="192"/>
                        <a:pt x="150" y="192"/>
                        <a:pt x="156" y="190"/>
                      </a:cubicBezTo>
                      <a:cubicBezTo>
                        <a:pt x="162" y="188"/>
                        <a:pt x="185" y="173"/>
                        <a:pt x="192" y="169"/>
                      </a:cubicBezTo>
                      <a:cubicBezTo>
                        <a:pt x="198" y="152"/>
                        <a:pt x="215" y="144"/>
                        <a:pt x="231" y="139"/>
                      </a:cubicBezTo>
                      <a:cubicBezTo>
                        <a:pt x="237" y="137"/>
                        <a:pt x="249" y="133"/>
                        <a:pt x="249" y="133"/>
                      </a:cubicBezTo>
                      <a:cubicBezTo>
                        <a:pt x="259" y="103"/>
                        <a:pt x="266" y="109"/>
                        <a:pt x="294" y="100"/>
                      </a:cubicBezTo>
                      <a:cubicBezTo>
                        <a:pt x="308" y="80"/>
                        <a:pt x="348" y="57"/>
                        <a:pt x="372" y="52"/>
                      </a:cubicBezTo>
                      <a:cubicBezTo>
                        <a:pt x="381" y="38"/>
                        <a:pt x="389" y="18"/>
                        <a:pt x="375" y="4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46" name="Freeform 96"/>
                <p:cNvSpPr>
                  <a:spLocks/>
                </p:cNvSpPr>
                <p:nvPr/>
              </p:nvSpPr>
              <p:spPr bwMode="gray">
                <a:xfrm>
                  <a:off x="1800" y="2000"/>
                  <a:ext cx="42" cy="52"/>
                </a:xfrm>
                <a:custGeom>
                  <a:avLst/>
                  <a:gdLst>
                    <a:gd name="T0" fmla="*/ 6 w 42"/>
                    <a:gd name="T1" fmla="*/ 1 h 52"/>
                    <a:gd name="T2" fmla="*/ 15 w 42"/>
                    <a:gd name="T3" fmla="*/ 52 h 52"/>
                    <a:gd name="T4" fmla="*/ 12 w 42"/>
                    <a:gd name="T5" fmla="*/ 10 h 52"/>
                    <a:gd name="T6" fmla="*/ 6 w 42"/>
                    <a:gd name="T7" fmla="*/ 1 h 52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42" h="52">
                      <a:moveTo>
                        <a:pt x="6" y="1"/>
                      </a:moveTo>
                      <a:cubicBezTo>
                        <a:pt x="0" y="19"/>
                        <a:pt x="5" y="37"/>
                        <a:pt x="15" y="52"/>
                      </a:cubicBezTo>
                      <a:cubicBezTo>
                        <a:pt x="42" y="45"/>
                        <a:pt x="28" y="15"/>
                        <a:pt x="12" y="10"/>
                      </a:cubicBezTo>
                      <a:cubicBezTo>
                        <a:pt x="9" y="0"/>
                        <a:pt x="12" y="1"/>
                        <a:pt x="6" y="1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47" name="Freeform 97"/>
                <p:cNvSpPr>
                  <a:spLocks/>
                </p:cNvSpPr>
                <p:nvPr/>
              </p:nvSpPr>
              <p:spPr bwMode="gray">
                <a:xfrm>
                  <a:off x="1516" y="1935"/>
                  <a:ext cx="72" cy="59"/>
                </a:xfrm>
                <a:custGeom>
                  <a:avLst/>
                  <a:gdLst>
                    <a:gd name="T0" fmla="*/ 53 w 72"/>
                    <a:gd name="T1" fmla="*/ 9 h 59"/>
                    <a:gd name="T2" fmla="*/ 11 w 72"/>
                    <a:gd name="T3" fmla="*/ 3 h 59"/>
                    <a:gd name="T4" fmla="*/ 26 w 72"/>
                    <a:gd name="T5" fmla="*/ 51 h 59"/>
                    <a:gd name="T6" fmla="*/ 53 w 72"/>
                    <a:gd name="T7" fmla="*/ 9 h 59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72" h="59">
                      <a:moveTo>
                        <a:pt x="53" y="9"/>
                      </a:moveTo>
                      <a:cubicBezTo>
                        <a:pt x="32" y="2"/>
                        <a:pt x="39" y="0"/>
                        <a:pt x="11" y="3"/>
                      </a:cubicBezTo>
                      <a:cubicBezTo>
                        <a:pt x="4" y="25"/>
                        <a:pt x="0" y="42"/>
                        <a:pt x="26" y="51"/>
                      </a:cubicBezTo>
                      <a:cubicBezTo>
                        <a:pt x="72" y="47"/>
                        <a:pt x="61" y="59"/>
                        <a:pt x="53" y="9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48" name="Freeform 98"/>
                <p:cNvSpPr>
                  <a:spLocks/>
                </p:cNvSpPr>
                <p:nvPr/>
              </p:nvSpPr>
              <p:spPr bwMode="gray">
                <a:xfrm>
                  <a:off x="1314" y="1917"/>
                  <a:ext cx="603" cy="333"/>
                </a:xfrm>
                <a:custGeom>
                  <a:avLst/>
                  <a:gdLst>
                    <a:gd name="T0" fmla="*/ 531 w 603"/>
                    <a:gd name="T1" fmla="*/ 147 h 333"/>
                    <a:gd name="T2" fmla="*/ 546 w 603"/>
                    <a:gd name="T3" fmla="*/ 159 h 333"/>
                    <a:gd name="T4" fmla="*/ 567 w 603"/>
                    <a:gd name="T5" fmla="*/ 165 h 333"/>
                    <a:gd name="T6" fmla="*/ 585 w 603"/>
                    <a:gd name="T7" fmla="*/ 171 h 333"/>
                    <a:gd name="T8" fmla="*/ 603 w 603"/>
                    <a:gd name="T9" fmla="*/ 195 h 333"/>
                    <a:gd name="T10" fmla="*/ 585 w 603"/>
                    <a:gd name="T11" fmla="*/ 240 h 333"/>
                    <a:gd name="T12" fmla="*/ 600 w 603"/>
                    <a:gd name="T13" fmla="*/ 270 h 333"/>
                    <a:gd name="T14" fmla="*/ 597 w 603"/>
                    <a:gd name="T15" fmla="*/ 279 h 333"/>
                    <a:gd name="T16" fmla="*/ 579 w 603"/>
                    <a:gd name="T17" fmla="*/ 273 h 333"/>
                    <a:gd name="T18" fmla="*/ 564 w 603"/>
                    <a:gd name="T19" fmla="*/ 285 h 333"/>
                    <a:gd name="T20" fmla="*/ 504 w 603"/>
                    <a:gd name="T21" fmla="*/ 312 h 333"/>
                    <a:gd name="T22" fmla="*/ 468 w 603"/>
                    <a:gd name="T23" fmla="*/ 333 h 333"/>
                    <a:gd name="T24" fmla="*/ 426 w 603"/>
                    <a:gd name="T25" fmla="*/ 315 h 333"/>
                    <a:gd name="T26" fmla="*/ 369 w 603"/>
                    <a:gd name="T27" fmla="*/ 297 h 333"/>
                    <a:gd name="T28" fmla="*/ 342 w 603"/>
                    <a:gd name="T29" fmla="*/ 282 h 333"/>
                    <a:gd name="T30" fmla="*/ 285 w 603"/>
                    <a:gd name="T31" fmla="*/ 249 h 333"/>
                    <a:gd name="T32" fmla="*/ 228 w 603"/>
                    <a:gd name="T33" fmla="*/ 204 h 333"/>
                    <a:gd name="T34" fmla="*/ 147 w 603"/>
                    <a:gd name="T35" fmla="*/ 222 h 333"/>
                    <a:gd name="T36" fmla="*/ 132 w 603"/>
                    <a:gd name="T37" fmla="*/ 219 h 333"/>
                    <a:gd name="T38" fmla="*/ 93 w 603"/>
                    <a:gd name="T39" fmla="*/ 216 h 333"/>
                    <a:gd name="T40" fmla="*/ 75 w 603"/>
                    <a:gd name="T41" fmla="*/ 210 h 333"/>
                    <a:gd name="T42" fmla="*/ 45 w 603"/>
                    <a:gd name="T43" fmla="*/ 213 h 333"/>
                    <a:gd name="T44" fmla="*/ 0 w 603"/>
                    <a:gd name="T45" fmla="*/ 132 h 333"/>
                    <a:gd name="T46" fmla="*/ 33 w 603"/>
                    <a:gd name="T47" fmla="*/ 111 h 333"/>
                    <a:gd name="T48" fmla="*/ 48 w 603"/>
                    <a:gd name="T49" fmla="*/ 60 h 333"/>
                    <a:gd name="T50" fmla="*/ 66 w 603"/>
                    <a:gd name="T51" fmla="*/ 48 h 333"/>
                    <a:gd name="T52" fmla="*/ 75 w 603"/>
                    <a:gd name="T53" fmla="*/ 42 h 333"/>
                    <a:gd name="T54" fmla="*/ 99 w 603"/>
                    <a:gd name="T55" fmla="*/ 0 h 333"/>
                    <a:gd name="T56" fmla="*/ 120 w 603"/>
                    <a:gd name="T57" fmla="*/ 21 h 333"/>
                    <a:gd name="T58" fmla="*/ 126 w 603"/>
                    <a:gd name="T59" fmla="*/ 39 h 333"/>
                    <a:gd name="T60" fmla="*/ 90 w 603"/>
                    <a:gd name="T61" fmla="*/ 63 h 333"/>
                    <a:gd name="T62" fmla="*/ 69 w 603"/>
                    <a:gd name="T63" fmla="*/ 108 h 333"/>
                    <a:gd name="T64" fmla="*/ 117 w 603"/>
                    <a:gd name="T65" fmla="*/ 159 h 333"/>
                    <a:gd name="T66" fmla="*/ 132 w 603"/>
                    <a:gd name="T67" fmla="*/ 138 h 333"/>
                    <a:gd name="T68" fmla="*/ 132 w 603"/>
                    <a:gd name="T69" fmla="*/ 138 h 333"/>
                    <a:gd name="T70" fmla="*/ 150 w 603"/>
                    <a:gd name="T71" fmla="*/ 126 h 333"/>
                    <a:gd name="T72" fmla="*/ 204 w 603"/>
                    <a:gd name="T73" fmla="*/ 129 h 333"/>
                    <a:gd name="T74" fmla="*/ 282 w 603"/>
                    <a:gd name="T75" fmla="*/ 129 h 333"/>
                    <a:gd name="T76" fmla="*/ 321 w 603"/>
                    <a:gd name="T77" fmla="*/ 126 h 333"/>
                    <a:gd name="T78" fmla="*/ 336 w 603"/>
                    <a:gd name="T79" fmla="*/ 174 h 333"/>
                    <a:gd name="T80" fmla="*/ 354 w 603"/>
                    <a:gd name="T81" fmla="*/ 171 h 333"/>
                    <a:gd name="T82" fmla="*/ 372 w 603"/>
                    <a:gd name="T83" fmla="*/ 165 h 333"/>
                    <a:gd name="T84" fmla="*/ 447 w 603"/>
                    <a:gd name="T85" fmla="*/ 189 h 333"/>
                    <a:gd name="T86" fmla="*/ 447 w 603"/>
                    <a:gd name="T87" fmla="*/ 216 h 333"/>
                    <a:gd name="T88" fmla="*/ 468 w 603"/>
                    <a:gd name="T89" fmla="*/ 213 h 333"/>
                    <a:gd name="T90" fmla="*/ 498 w 603"/>
                    <a:gd name="T91" fmla="*/ 204 h 333"/>
                    <a:gd name="T92" fmla="*/ 531 w 603"/>
                    <a:gd name="T93" fmla="*/ 147 h 333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603" h="333">
                      <a:moveTo>
                        <a:pt x="531" y="147"/>
                      </a:moveTo>
                      <a:cubicBezTo>
                        <a:pt x="554" y="155"/>
                        <a:pt x="527" y="143"/>
                        <a:pt x="546" y="159"/>
                      </a:cubicBezTo>
                      <a:cubicBezTo>
                        <a:pt x="548" y="161"/>
                        <a:pt x="566" y="165"/>
                        <a:pt x="567" y="165"/>
                      </a:cubicBezTo>
                      <a:cubicBezTo>
                        <a:pt x="573" y="167"/>
                        <a:pt x="585" y="171"/>
                        <a:pt x="585" y="171"/>
                      </a:cubicBezTo>
                      <a:cubicBezTo>
                        <a:pt x="592" y="181"/>
                        <a:pt x="599" y="184"/>
                        <a:pt x="603" y="195"/>
                      </a:cubicBezTo>
                      <a:cubicBezTo>
                        <a:pt x="600" y="213"/>
                        <a:pt x="591" y="223"/>
                        <a:pt x="585" y="240"/>
                      </a:cubicBezTo>
                      <a:cubicBezTo>
                        <a:pt x="588" y="251"/>
                        <a:pt x="600" y="270"/>
                        <a:pt x="600" y="270"/>
                      </a:cubicBezTo>
                      <a:cubicBezTo>
                        <a:pt x="599" y="273"/>
                        <a:pt x="600" y="279"/>
                        <a:pt x="597" y="279"/>
                      </a:cubicBezTo>
                      <a:cubicBezTo>
                        <a:pt x="591" y="280"/>
                        <a:pt x="579" y="273"/>
                        <a:pt x="579" y="273"/>
                      </a:cubicBezTo>
                      <a:cubicBezTo>
                        <a:pt x="559" y="280"/>
                        <a:pt x="581" y="270"/>
                        <a:pt x="564" y="285"/>
                      </a:cubicBezTo>
                      <a:cubicBezTo>
                        <a:pt x="544" y="302"/>
                        <a:pt x="529" y="309"/>
                        <a:pt x="504" y="312"/>
                      </a:cubicBezTo>
                      <a:cubicBezTo>
                        <a:pt x="496" y="324"/>
                        <a:pt x="482" y="329"/>
                        <a:pt x="468" y="333"/>
                      </a:cubicBezTo>
                      <a:cubicBezTo>
                        <a:pt x="449" y="329"/>
                        <a:pt x="443" y="327"/>
                        <a:pt x="426" y="315"/>
                      </a:cubicBezTo>
                      <a:cubicBezTo>
                        <a:pt x="410" y="304"/>
                        <a:pt x="385" y="308"/>
                        <a:pt x="369" y="297"/>
                      </a:cubicBezTo>
                      <a:cubicBezTo>
                        <a:pt x="348" y="283"/>
                        <a:pt x="358" y="287"/>
                        <a:pt x="342" y="282"/>
                      </a:cubicBezTo>
                      <a:cubicBezTo>
                        <a:pt x="327" y="267"/>
                        <a:pt x="305" y="256"/>
                        <a:pt x="285" y="249"/>
                      </a:cubicBezTo>
                      <a:cubicBezTo>
                        <a:pt x="280" y="234"/>
                        <a:pt x="246" y="210"/>
                        <a:pt x="228" y="204"/>
                      </a:cubicBezTo>
                      <a:cubicBezTo>
                        <a:pt x="200" y="207"/>
                        <a:pt x="174" y="213"/>
                        <a:pt x="147" y="222"/>
                      </a:cubicBezTo>
                      <a:cubicBezTo>
                        <a:pt x="142" y="221"/>
                        <a:pt x="137" y="220"/>
                        <a:pt x="132" y="219"/>
                      </a:cubicBezTo>
                      <a:cubicBezTo>
                        <a:pt x="119" y="218"/>
                        <a:pt x="106" y="218"/>
                        <a:pt x="93" y="216"/>
                      </a:cubicBezTo>
                      <a:cubicBezTo>
                        <a:pt x="87" y="215"/>
                        <a:pt x="75" y="210"/>
                        <a:pt x="75" y="210"/>
                      </a:cubicBezTo>
                      <a:cubicBezTo>
                        <a:pt x="53" y="217"/>
                        <a:pt x="63" y="218"/>
                        <a:pt x="45" y="213"/>
                      </a:cubicBezTo>
                      <a:cubicBezTo>
                        <a:pt x="27" y="186"/>
                        <a:pt x="24" y="156"/>
                        <a:pt x="0" y="132"/>
                      </a:cubicBezTo>
                      <a:cubicBezTo>
                        <a:pt x="4" y="114"/>
                        <a:pt x="17" y="115"/>
                        <a:pt x="33" y="111"/>
                      </a:cubicBezTo>
                      <a:cubicBezTo>
                        <a:pt x="44" y="95"/>
                        <a:pt x="41" y="72"/>
                        <a:pt x="48" y="60"/>
                      </a:cubicBezTo>
                      <a:cubicBezTo>
                        <a:pt x="52" y="54"/>
                        <a:pt x="60" y="52"/>
                        <a:pt x="66" y="48"/>
                      </a:cubicBezTo>
                      <a:cubicBezTo>
                        <a:pt x="69" y="46"/>
                        <a:pt x="75" y="42"/>
                        <a:pt x="75" y="42"/>
                      </a:cubicBezTo>
                      <a:cubicBezTo>
                        <a:pt x="80" y="26"/>
                        <a:pt x="85" y="9"/>
                        <a:pt x="99" y="0"/>
                      </a:cubicBezTo>
                      <a:cubicBezTo>
                        <a:pt x="113" y="3"/>
                        <a:pt x="114" y="8"/>
                        <a:pt x="120" y="21"/>
                      </a:cubicBezTo>
                      <a:cubicBezTo>
                        <a:pt x="123" y="27"/>
                        <a:pt x="126" y="39"/>
                        <a:pt x="126" y="39"/>
                      </a:cubicBezTo>
                      <a:cubicBezTo>
                        <a:pt x="122" y="102"/>
                        <a:pt x="125" y="87"/>
                        <a:pt x="90" y="63"/>
                      </a:cubicBezTo>
                      <a:cubicBezTo>
                        <a:pt x="66" y="71"/>
                        <a:pt x="71" y="82"/>
                        <a:pt x="69" y="108"/>
                      </a:cubicBezTo>
                      <a:cubicBezTo>
                        <a:pt x="77" y="146"/>
                        <a:pt x="81" y="147"/>
                        <a:pt x="117" y="159"/>
                      </a:cubicBezTo>
                      <a:lnTo>
                        <a:pt x="132" y="138"/>
                      </a:lnTo>
                      <a:cubicBezTo>
                        <a:pt x="132" y="138"/>
                        <a:pt x="132" y="138"/>
                        <a:pt x="132" y="138"/>
                      </a:cubicBezTo>
                      <a:cubicBezTo>
                        <a:pt x="138" y="134"/>
                        <a:pt x="150" y="126"/>
                        <a:pt x="150" y="126"/>
                      </a:cubicBezTo>
                      <a:cubicBezTo>
                        <a:pt x="174" y="132"/>
                        <a:pt x="174" y="132"/>
                        <a:pt x="204" y="129"/>
                      </a:cubicBezTo>
                      <a:cubicBezTo>
                        <a:pt x="227" y="114"/>
                        <a:pt x="256" y="120"/>
                        <a:pt x="282" y="129"/>
                      </a:cubicBezTo>
                      <a:cubicBezTo>
                        <a:pt x="298" y="126"/>
                        <a:pt x="306" y="122"/>
                        <a:pt x="321" y="126"/>
                      </a:cubicBezTo>
                      <a:cubicBezTo>
                        <a:pt x="327" y="144"/>
                        <a:pt x="315" y="167"/>
                        <a:pt x="336" y="174"/>
                      </a:cubicBezTo>
                      <a:cubicBezTo>
                        <a:pt x="342" y="173"/>
                        <a:pt x="348" y="172"/>
                        <a:pt x="354" y="171"/>
                      </a:cubicBezTo>
                      <a:cubicBezTo>
                        <a:pt x="360" y="169"/>
                        <a:pt x="372" y="165"/>
                        <a:pt x="372" y="165"/>
                      </a:cubicBezTo>
                      <a:cubicBezTo>
                        <a:pt x="398" y="172"/>
                        <a:pt x="421" y="182"/>
                        <a:pt x="447" y="189"/>
                      </a:cubicBezTo>
                      <a:cubicBezTo>
                        <a:pt x="454" y="210"/>
                        <a:pt x="457" y="202"/>
                        <a:pt x="447" y="216"/>
                      </a:cubicBezTo>
                      <a:cubicBezTo>
                        <a:pt x="454" y="236"/>
                        <a:pt x="459" y="219"/>
                        <a:pt x="468" y="213"/>
                      </a:cubicBezTo>
                      <a:cubicBezTo>
                        <a:pt x="473" y="210"/>
                        <a:pt x="491" y="206"/>
                        <a:pt x="498" y="204"/>
                      </a:cubicBezTo>
                      <a:cubicBezTo>
                        <a:pt x="520" y="189"/>
                        <a:pt x="488" y="156"/>
                        <a:pt x="531" y="147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49" name="Freeform 99"/>
                <p:cNvSpPr>
                  <a:spLocks/>
                </p:cNvSpPr>
                <p:nvPr/>
              </p:nvSpPr>
              <p:spPr bwMode="gray">
                <a:xfrm>
                  <a:off x="1152" y="2124"/>
                  <a:ext cx="766" cy="444"/>
                </a:xfrm>
                <a:custGeom>
                  <a:avLst/>
                  <a:gdLst>
                    <a:gd name="T0" fmla="*/ 756 w 766"/>
                    <a:gd name="T1" fmla="*/ 153 h 444"/>
                    <a:gd name="T2" fmla="*/ 750 w 766"/>
                    <a:gd name="T3" fmla="*/ 111 h 444"/>
                    <a:gd name="T4" fmla="*/ 765 w 766"/>
                    <a:gd name="T5" fmla="*/ 84 h 444"/>
                    <a:gd name="T6" fmla="*/ 744 w 766"/>
                    <a:gd name="T7" fmla="*/ 69 h 444"/>
                    <a:gd name="T8" fmla="*/ 735 w 766"/>
                    <a:gd name="T9" fmla="*/ 66 h 444"/>
                    <a:gd name="T10" fmla="*/ 699 w 766"/>
                    <a:gd name="T11" fmla="*/ 90 h 444"/>
                    <a:gd name="T12" fmla="*/ 636 w 766"/>
                    <a:gd name="T13" fmla="*/ 120 h 444"/>
                    <a:gd name="T14" fmla="*/ 564 w 766"/>
                    <a:gd name="T15" fmla="*/ 102 h 444"/>
                    <a:gd name="T16" fmla="*/ 534 w 766"/>
                    <a:gd name="T17" fmla="*/ 93 h 444"/>
                    <a:gd name="T18" fmla="*/ 516 w 766"/>
                    <a:gd name="T19" fmla="*/ 87 h 444"/>
                    <a:gd name="T20" fmla="*/ 492 w 766"/>
                    <a:gd name="T21" fmla="*/ 72 h 444"/>
                    <a:gd name="T22" fmla="*/ 474 w 766"/>
                    <a:gd name="T23" fmla="*/ 60 h 444"/>
                    <a:gd name="T24" fmla="*/ 441 w 766"/>
                    <a:gd name="T25" fmla="*/ 39 h 444"/>
                    <a:gd name="T26" fmla="*/ 393 w 766"/>
                    <a:gd name="T27" fmla="*/ 0 h 444"/>
                    <a:gd name="T28" fmla="*/ 321 w 766"/>
                    <a:gd name="T29" fmla="*/ 9 h 444"/>
                    <a:gd name="T30" fmla="*/ 261 w 766"/>
                    <a:gd name="T31" fmla="*/ 12 h 444"/>
                    <a:gd name="T32" fmla="*/ 243 w 766"/>
                    <a:gd name="T33" fmla="*/ 48 h 444"/>
                    <a:gd name="T34" fmla="*/ 252 w 766"/>
                    <a:gd name="T35" fmla="*/ 78 h 444"/>
                    <a:gd name="T36" fmla="*/ 225 w 766"/>
                    <a:gd name="T37" fmla="*/ 123 h 444"/>
                    <a:gd name="T38" fmla="*/ 192 w 766"/>
                    <a:gd name="T39" fmla="*/ 117 h 444"/>
                    <a:gd name="T40" fmla="*/ 186 w 766"/>
                    <a:gd name="T41" fmla="*/ 108 h 444"/>
                    <a:gd name="T42" fmla="*/ 168 w 766"/>
                    <a:gd name="T43" fmla="*/ 102 h 444"/>
                    <a:gd name="T44" fmla="*/ 150 w 766"/>
                    <a:gd name="T45" fmla="*/ 90 h 444"/>
                    <a:gd name="T46" fmla="*/ 105 w 766"/>
                    <a:gd name="T47" fmla="*/ 69 h 444"/>
                    <a:gd name="T48" fmla="*/ 102 w 766"/>
                    <a:gd name="T49" fmla="*/ 162 h 444"/>
                    <a:gd name="T50" fmla="*/ 81 w 766"/>
                    <a:gd name="T51" fmla="*/ 183 h 444"/>
                    <a:gd name="T52" fmla="*/ 72 w 766"/>
                    <a:gd name="T53" fmla="*/ 189 h 444"/>
                    <a:gd name="T54" fmla="*/ 63 w 766"/>
                    <a:gd name="T55" fmla="*/ 207 h 444"/>
                    <a:gd name="T56" fmla="*/ 96 w 766"/>
                    <a:gd name="T57" fmla="*/ 228 h 444"/>
                    <a:gd name="T58" fmla="*/ 105 w 766"/>
                    <a:gd name="T59" fmla="*/ 225 h 444"/>
                    <a:gd name="T60" fmla="*/ 108 w 766"/>
                    <a:gd name="T61" fmla="*/ 216 h 444"/>
                    <a:gd name="T62" fmla="*/ 138 w 766"/>
                    <a:gd name="T63" fmla="*/ 207 h 444"/>
                    <a:gd name="T64" fmla="*/ 117 w 766"/>
                    <a:gd name="T65" fmla="*/ 249 h 444"/>
                    <a:gd name="T66" fmla="*/ 96 w 766"/>
                    <a:gd name="T67" fmla="*/ 273 h 444"/>
                    <a:gd name="T68" fmla="*/ 48 w 766"/>
                    <a:gd name="T69" fmla="*/ 312 h 444"/>
                    <a:gd name="T70" fmla="*/ 6 w 766"/>
                    <a:gd name="T71" fmla="*/ 381 h 444"/>
                    <a:gd name="T72" fmla="*/ 15 w 766"/>
                    <a:gd name="T73" fmla="*/ 432 h 444"/>
                    <a:gd name="T74" fmla="*/ 45 w 766"/>
                    <a:gd name="T75" fmla="*/ 417 h 444"/>
                    <a:gd name="T76" fmla="*/ 54 w 766"/>
                    <a:gd name="T77" fmla="*/ 411 h 444"/>
                    <a:gd name="T78" fmla="*/ 111 w 766"/>
                    <a:gd name="T79" fmla="*/ 435 h 444"/>
                    <a:gd name="T80" fmla="*/ 135 w 766"/>
                    <a:gd name="T81" fmla="*/ 429 h 444"/>
                    <a:gd name="T82" fmla="*/ 180 w 766"/>
                    <a:gd name="T83" fmla="*/ 381 h 444"/>
                    <a:gd name="T84" fmla="*/ 204 w 766"/>
                    <a:gd name="T85" fmla="*/ 411 h 444"/>
                    <a:gd name="T86" fmla="*/ 249 w 766"/>
                    <a:gd name="T87" fmla="*/ 432 h 444"/>
                    <a:gd name="T88" fmla="*/ 333 w 766"/>
                    <a:gd name="T89" fmla="*/ 429 h 444"/>
                    <a:gd name="T90" fmla="*/ 375 w 766"/>
                    <a:gd name="T91" fmla="*/ 444 h 444"/>
                    <a:gd name="T92" fmla="*/ 423 w 766"/>
                    <a:gd name="T93" fmla="*/ 429 h 444"/>
                    <a:gd name="T94" fmla="*/ 471 w 766"/>
                    <a:gd name="T95" fmla="*/ 330 h 444"/>
                    <a:gd name="T96" fmla="*/ 486 w 766"/>
                    <a:gd name="T97" fmla="*/ 303 h 444"/>
                    <a:gd name="T98" fmla="*/ 510 w 766"/>
                    <a:gd name="T99" fmla="*/ 249 h 444"/>
                    <a:gd name="T100" fmla="*/ 525 w 766"/>
                    <a:gd name="T101" fmla="*/ 237 h 444"/>
                    <a:gd name="T102" fmla="*/ 543 w 766"/>
                    <a:gd name="T103" fmla="*/ 243 h 444"/>
                    <a:gd name="T104" fmla="*/ 618 w 766"/>
                    <a:gd name="T105" fmla="*/ 213 h 444"/>
                    <a:gd name="T106" fmla="*/ 645 w 766"/>
                    <a:gd name="T107" fmla="*/ 204 h 444"/>
                    <a:gd name="T108" fmla="*/ 654 w 766"/>
                    <a:gd name="T109" fmla="*/ 201 h 444"/>
                    <a:gd name="T110" fmla="*/ 705 w 766"/>
                    <a:gd name="T111" fmla="*/ 177 h 444"/>
                    <a:gd name="T112" fmla="*/ 717 w 766"/>
                    <a:gd name="T113" fmla="*/ 162 h 444"/>
                    <a:gd name="T114" fmla="*/ 741 w 766"/>
                    <a:gd name="T115" fmla="*/ 156 h 444"/>
                    <a:gd name="T116" fmla="*/ 765 w 766"/>
                    <a:gd name="T117" fmla="*/ 132 h 444"/>
                    <a:gd name="T118" fmla="*/ 750 w 766"/>
                    <a:gd name="T119" fmla="*/ 105 h 444"/>
                    <a:gd name="T120" fmla="*/ 762 w 766"/>
                    <a:gd name="T121" fmla="*/ 84 h 444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0" t="0" r="r" b="b"/>
                  <a:pathLst>
                    <a:path w="766" h="444">
                      <a:moveTo>
                        <a:pt x="756" y="153"/>
                      </a:moveTo>
                      <a:cubicBezTo>
                        <a:pt x="766" y="138"/>
                        <a:pt x="766" y="122"/>
                        <a:pt x="750" y="111"/>
                      </a:cubicBezTo>
                      <a:cubicBezTo>
                        <a:pt x="753" y="101"/>
                        <a:pt x="765" y="84"/>
                        <a:pt x="765" y="84"/>
                      </a:cubicBezTo>
                      <a:cubicBezTo>
                        <a:pt x="760" y="69"/>
                        <a:pt x="765" y="76"/>
                        <a:pt x="744" y="69"/>
                      </a:cubicBezTo>
                      <a:cubicBezTo>
                        <a:pt x="741" y="68"/>
                        <a:pt x="735" y="66"/>
                        <a:pt x="735" y="66"/>
                      </a:cubicBezTo>
                      <a:cubicBezTo>
                        <a:pt x="726" y="80"/>
                        <a:pt x="715" y="86"/>
                        <a:pt x="699" y="90"/>
                      </a:cubicBezTo>
                      <a:cubicBezTo>
                        <a:pt x="679" y="103"/>
                        <a:pt x="656" y="107"/>
                        <a:pt x="636" y="120"/>
                      </a:cubicBezTo>
                      <a:cubicBezTo>
                        <a:pt x="606" y="117"/>
                        <a:pt x="591" y="110"/>
                        <a:pt x="564" y="102"/>
                      </a:cubicBezTo>
                      <a:cubicBezTo>
                        <a:pt x="554" y="99"/>
                        <a:pt x="544" y="96"/>
                        <a:pt x="534" y="93"/>
                      </a:cubicBezTo>
                      <a:cubicBezTo>
                        <a:pt x="528" y="91"/>
                        <a:pt x="516" y="87"/>
                        <a:pt x="516" y="87"/>
                      </a:cubicBezTo>
                      <a:cubicBezTo>
                        <a:pt x="502" y="65"/>
                        <a:pt x="522" y="92"/>
                        <a:pt x="492" y="72"/>
                      </a:cubicBezTo>
                      <a:cubicBezTo>
                        <a:pt x="486" y="68"/>
                        <a:pt x="474" y="60"/>
                        <a:pt x="474" y="60"/>
                      </a:cubicBezTo>
                      <a:cubicBezTo>
                        <a:pt x="467" y="49"/>
                        <a:pt x="454" y="43"/>
                        <a:pt x="441" y="39"/>
                      </a:cubicBezTo>
                      <a:cubicBezTo>
                        <a:pt x="428" y="20"/>
                        <a:pt x="415" y="7"/>
                        <a:pt x="393" y="0"/>
                      </a:cubicBezTo>
                      <a:cubicBezTo>
                        <a:pt x="369" y="4"/>
                        <a:pt x="345" y="7"/>
                        <a:pt x="321" y="9"/>
                      </a:cubicBezTo>
                      <a:cubicBezTo>
                        <a:pt x="303" y="15"/>
                        <a:pt x="281" y="10"/>
                        <a:pt x="261" y="12"/>
                      </a:cubicBezTo>
                      <a:cubicBezTo>
                        <a:pt x="254" y="23"/>
                        <a:pt x="247" y="36"/>
                        <a:pt x="243" y="48"/>
                      </a:cubicBezTo>
                      <a:cubicBezTo>
                        <a:pt x="246" y="58"/>
                        <a:pt x="249" y="68"/>
                        <a:pt x="252" y="78"/>
                      </a:cubicBezTo>
                      <a:cubicBezTo>
                        <a:pt x="248" y="99"/>
                        <a:pt x="247" y="116"/>
                        <a:pt x="225" y="123"/>
                      </a:cubicBezTo>
                      <a:cubicBezTo>
                        <a:pt x="214" y="122"/>
                        <a:pt x="201" y="124"/>
                        <a:pt x="192" y="117"/>
                      </a:cubicBezTo>
                      <a:cubicBezTo>
                        <a:pt x="189" y="115"/>
                        <a:pt x="189" y="110"/>
                        <a:pt x="186" y="108"/>
                      </a:cubicBezTo>
                      <a:cubicBezTo>
                        <a:pt x="181" y="105"/>
                        <a:pt x="173" y="106"/>
                        <a:pt x="168" y="102"/>
                      </a:cubicBezTo>
                      <a:cubicBezTo>
                        <a:pt x="162" y="98"/>
                        <a:pt x="156" y="94"/>
                        <a:pt x="150" y="90"/>
                      </a:cubicBezTo>
                      <a:cubicBezTo>
                        <a:pt x="136" y="81"/>
                        <a:pt x="119" y="78"/>
                        <a:pt x="105" y="69"/>
                      </a:cubicBezTo>
                      <a:cubicBezTo>
                        <a:pt x="98" y="90"/>
                        <a:pt x="103" y="150"/>
                        <a:pt x="102" y="162"/>
                      </a:cubicBezTo>
                      <a:cubicBezTo>
                        <a:pt x="101" y="175"/>
                        <a:pt x="92" y="176"/>
                        <a:pt x="81" y="183"/>
                      </a:cubicBezTo>
                      <a:cubicBezTo>
                        <a:pt x="78" y="185"/>
                        <a:pt x="72" y="189"/>
                        <a:pt x="72" y="189"/>
                      </a:cubicBezTo>
                      <a:cubicBezTo>
                        <a:pt x="70" y="195"/>
                        <a:pt x="63" y="200"/>
                        <a:pt x="63" y="207"/>
                      </a:cubicBezTo>
                      <a:cubicBezTo>
                        <a:pt x="63" y="217"/>
                        <a:pt x="89" y="226"/>
                        <a:pt x="96" y="228"/>
                      </a:cubicBezTo>
                      <a:cubicBezTo>
                        <a:pt x="99" y="227"/>
                        <a:pt x="103" y="227"/>
                        <a:pt x="105" y="225"/>
                      </a:cubicBezTo>
                      <a:cubicBezTo>
                        <a:pt x="107" y="223"/>
                        <a:pt x="105" y="218"/>
                        <a:pt x="108" y="216"/>
                      </a:cubicBezTo>
                      <a:cubicBezTo>
                        <a:pt x="112" y="213"/>
                        <a:pt x="132" y="209"/>
                        <a:pt x="138" y="207"/>
                      </a:cubicBezTo>
                      <a:cubicBezTo>
                        <a:pt x="158" y="237"/>
                        <a:pt x="138" y="235"/>
                        <a:pt x="117" y="249"/>
                      </a:cubicBezTo>
                      <a:cubicBezTo>
                        <a:pt x="110" y="259"/>
                        <a:pt x="103" y="263"/>
                        <a:pt x="96" y="273"/>
                      </a:cubicBezTo>
                      <a:cubicBezTo>
                        <a:pt x="108" y="310"/>
                        <a:pt x="81" y="309"/>
                        <a:pt x="48" y="312"/>
                      </a:cubicBezTo>
                      <a:cubicBezTo>
                        <a:pt x="20" y="321"/>
                        <a:pt x="28" y="366"/>
                        <a:pt x="6" y="381"/>
                      </a:cubicBezTo>
                      <a:cubicBezTo>
                        <a:pt x="0" y="399"/>
                        <a:pt x="5" y="417"/>
                        <a:pt x="15" y="432"/>
                      </a:cubicBezTo>
                      <a:cubicBezTo>
                        <a:pt x="34" y="427"/>
                        <a:pt x="24" y="431"/>
                        <a:pt x="45" y="417"/>
                      </a:cubicBezTo>
                      <a:cubicBezTo>
                        <a:pt x="48" y="415"/>
                        <a:pt x="54" y="411"/>
                        <a:pt x="54" y="411"/>
                      </a:cubicBezTo>
                      <a:cubicBezTo>
                        <a:pt x="73" y="416"/>
                        <a:pt x="94" y="424"/>
                        <a:pt x="111" y="435"/>
                      </a:cubicBezTo>
                      <a:cubicBezTo>
                        <a:pt x="119" y="433"/>
                        <a:pt x="129" y="435"/>
                        <a:pt x="135" y="429"/>
                      </a:cubicBezTo>
                      <a:cubicBezTo>
                        <a:pt x="159" y="405"/>
                        <a:pt x="139" y="388"/>
                        <a:pt x="180" y="381"/>
                      </a:cubicBezTo>
                      <a:cubicBezTo>
                        <a:pt x="198" y="387"/>
                        <a:pt x="191" y="401"/>
                        <a:pt x="204" y="411"/>
                      </a:cubicBezTo>
                      <a:cubicBezTo>
                        <a:pt x="215" y="419"/>
                        <a:pt x="236" y="428"/>
                        <a:pt x="249" y="432"/>
                      </a:cubicBezTo>
                      <a:cubicBezTo>
                        <a:pt x="287" y="428"/>
                        <a:pt x="291" y="426"/>
                        <a:pt x="333" y="429"/>
                      </a:cubicBezTo>
                      <a:cubicBezTo>
                        <a:pt x="348" y="434"/>
                        <a:pt x="359" y="441"/>
                        <a:pt x="375" y="444"/>
                      </a:cubicBezTo>
                      <a:cubicBezTo>
                        <a:pt x="393" y="441"/>
                        <a:pt x="408" y="439"/>
                        <a:pt x="423" y="429"/>
                      </a:cubicBezTo>
                      <a:cubicBezTo>
                        <a:pt x="443" y="399"/>
                        <a:pt x="431" y="343"/>
                        <a:pt x="471" y="330"/>
                      </a:cubicBezTo>
                      <a:cubicBezTo>
                        <a:pt x="485" y="309"/>
                        <a:pt x="481" y="319"/>
                        <a:pt x="486" y="303"/>
                      </a:cubicBezTo>
                      <a:cubicBezTo>
                        <a:pt x="488" y="278"/>
                        <a:pt x="484" y="258"/>
                        <a:pt x="510" y="249"/>
                      </a:cubicBezTo>
                      <a:cubicBezTo>
                        <a:pt x="514" y="243"/>
                        <a:pt x="516" y="236"/>
                        <a:pt x="525" y="237"/>
                      </a:cubicBezTo>
                      <a:cubicBezTo>
                        <a:pt x="531" y="238"/>
                        <a:pt x="543" y="243"/>
                        <a:pt x="543" y="243"/>
                      </a:cubicBezTo>
                      <a:cubicBezTo>
                        <a:pt x="573" y="239"/>
                        <a:pt x="591" y="225"/>
                        <a:pt x="618" y="213"/>
                      </a:cubicBezTo>
                      <a:cubicBezTo>
                        <a:pt x="627" y="209"/>
                        <a:pt x="636" y="207"/>
                        <a:pt x="645" y="204"/>
                      </a:cubicBezTo>
                      <a:cubicBezTo>
                        <a:pt x="648" y="203"/>
                        <a:pt x="654" y="201"/>
                        <a:pt x="654" y="201"/>
                      </a:cubicBezTo>
                      <a:cubicBezTo>
                        <a:pt x="660" y="184"/>
                        <a:pt x="689" y="182"/>
                        <a:pt x="705" y="177"/>
                      </a:cubicBezTo>
                      <a:cubicBezTo>
                        <a:pt x="708" y="168"/>
                        <a:pt x="707" y="166"/>
                        <a:pt x="717" y="162"/>
                      </a:cubicBezTo>
                      <a:cubicBezTo>
                        <a:pt x="725" y="159"/>
                        <a:pt x="741" y="156"/>
                        <a:pt x="741" y="156"/>
                      </a:cubicBezTo>
                      <a:cubicBezTo>
                        <a:pt x="751" y="149"/>
                        <a:pt x="756" y="141"/>
                        <a:pt x="765" y="132"/>
                      </a:cubicBezTo>
                      <a:cubicBezTo>
                        <a:pt x="762" y="122"/>
                        <a:pt x="750" y="105"/>
                        <a:pt x="750" y="105"/>
                      </a:cubicBezTo>
                      <a:cubicBezTo>
                        <a:pt x="753" y="95"/>
                        <a:pt x="762" y="94"/>
                        <a:pt x="762" y="84"/>
                      </a:cubicBezTo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50" name="Freeform 100"/>
                <p:cNvSpPr>
                  <a:spLocks/>
                </p:cNvSpPr>
                <p:nvPr/>
              </p:nvSpPr>
              <p:spPr bwMode="gray">
                <a:xfrm>
                  <a:off x="918" y="1980"/>
                  <a:ext cx="489" cy="450"/>
                </a:xfrm>
                <a:custGeom>
                  <a:avLst/>
                  <a:gdLst>
                    <a:gd name="T0" fmla="*/ 336 w 489"/>
                    <a:gd name="T1" fmla="*/ 30 h 450"/>
                    <a:gd name="T2" fmla="*/ 378 w 489"/>
                    <a:gd name="T3" fmla="*/ 39 h 450"/>
                    <a:gd name="T4" fmla="*/ 396 w 489"/>
                    <a:gd name="T5" fmla="*/ 51 h 450"/>
                    <a:gd name="T6" fmla="*/ 432 w 489"/>
                    <a:gd name="T7" fmla="*/ 141 h 450"/>
                    <a:gd name="T8" fmla="*/ 444 w 489"/>
                    <a:gd name="T9" fmla="*/ 153 h 450"/>
                    <a:gd name="T10" fmla="*/ 462 w 489"/>
                    <a:gd name="T11" fmla="*/ 147 h 450"/>
                    <a:gd name="T12" fmla="*/ 483 w 489"/>
                    <a:gd name="T13" fmla="*/ 150 h 450"/>
                    <a:gd name="T14" fmla="*/ 489 w 489"/>
                    <a:gd name="T15" fmla="*/ 168 h 450"/>
                    <a:gd name="T16" fmla="*/ 483 w 489"/>
                    <a:gd name="T17" fmla="*/ 186 h 450"/>
                    <a:gd name="T18" fmla="*/ 480 w 489"/>
                    <a:gd name="T19" fmla="*/ 195 h 450"/>
                    <a:gd name="T20" fmla="*/ 471 w 489"/>
                    <a:gd name="T21" fmla="*/ 258 h 450"/>
                    <a:gd name="T22" fmla="*/ 444 w 489"/>
                    <a:gd name="T23" fmla="*/ 267 h 450"/>
                    <a:gd name="T24" fmla="*/ 426 w 489"/>
                    <a:gd name="T25" fmla="*/ 261 h 450"/>
                    <a:gd name="T26" fmla="*/ 417 w 489"/>
                    <a:gd name="T27" fmla="*/ 258 h 450"/>
                    <a:gd name="T28" fmla="*/ 375 w 489"/>
                    <a:gd name="T29" fmla="*/ 228 h 450"/>
                    <a:gd name="T30" fmla="*/ 357 w 489"/>
                    <a:gd name="T31" fmla="*/ 222 h 450"/>
                    <a:gd name="T32" fmla="*/ 336 w 489"/>
                    <a:gd name="T33" fmla="*/ 225 h 450"/>
                    <a:gd name="T34" fmla="*/ 330 w 489"/>
                    <a:gd name="T35" fmla="*/ 243 h 450"/>
                    <a:gd name="T36" fmla="*/ 312 w 489"/>
                    <a:gd name="T37" fmla="*/ 327 h 450"/>
                    <a:gd name="T38" fmla="*/ 324 w 489"/>
                    <a:gd name="T39" fmla="*/ 366 h 450"/>
                    <a:gd name="T40" fmla="*/ 333 w 489"/>
                    <a:gd name="T41" fmla="*/ 363 h 450"/>
                    <a:gd name="T42" fmla="*/ 342 w 489"/>
                    <a:gd name="T43" fmla="*/ 357 h 450"/>
                    <a:gd name="T44" fmla="*/ 360 w 489"/>
                    <a:gd name="T45" fmla="*/ 351 h 450"/>
                    <a:gd name="T46" fmla="*/ 378 w 489"/>
                    <a:gd name="T47" fmla="*/ 354 h 450"/>
                    <a:gd name="T48" fmla="*/ 384 w 489"/>
                    <a:gd name="T49" fmla="*/ 372 h 450"/>
                    <a:gd name="T50" fmla="*/ 360 w 489"/>
                    <a:gd name="T51" fmla="*/ 387 h 450"/>
                    <a:gd name="T52" fmla="*/ 333 w 489"/>
                    <a:gd name="T53" fmla="*/ 402 h 450"/>
                    <a:gd name="T54" fmla="*/ 321 w 489"/>
                    <a:gd name="T55" fmla="*/ 447 h 450"/>
                    <a:gd name="T56" fmla="*/ 291 w 489"/>
                    <a:gd name="T57" fmla="*/ 450 h 450"/>
                    <a:gd name="T58" fmla="*/ 246 w 489"/>
                    <a:gd name="T59" fmla="*/ 435 h 450"/>
                    <a:gd name="T60" fmla="*/ 237 w 489"/>
                    <a:gd name="T61" fmla="*/ 438 h 450"/>
                    <a:gd name="T62" fmla="*/ 216 w 489"/>
                    <a:gd name="T63" fmla="*/ 405 h 450"/>
                    <a:gd name="T64" fmla="*/ 174 w 489"/>
                    <a:gd name="T65" fmla="*/ 381 h 450"/>
                    <a:gd name="T66" fmla="*/ 159 w 489"/>
                    <a:gd name="T67" fmla="*/ 366 h 450"/>
                    <a:gd name="T68" fmla="*/ 141 w 489"/>
                    <a:gd name="T69" fmla="*/ 372 h 450"/>
                    <a:gd name="T70" fmla="*/ 120 w 489"/>
                    <a:gd name="T71" fmla="*/ 363 h 450"/>
                    <a:gd name="T72" fmla="*/ 117 w 489"/>
                    <a:gd name="T73" fmla="*/ 354 h 450"/>
                    <a:gd name="T74" fmla="*/ 96 w 489"/>
                    <a:gd name="T75" fmla="*/ 348 h 450"/>
                    <a:gd name="T76" fmla="*/ 78 w 489"/>
                    <a:gd name="T77" fmla="*/ 336 h 450"/>
                    <a:gd name="T78" fmla="*/ 54 w 489"/>
                    <a:gd name="T79" fmla="*/ 303 h 450"/>
                    <a:gd name="T80" fmla="*/ 24 w 489"/>
                    <a:gd name="T81" fmla="*/ 273 h 450"/>
                    <a:gd name="T82" fmla="*/ 9 w 489"/>
                    <a:gd name="T83" fmla="*/ 258 h 450"/>
                    <a:gd name="T84" fmla="*/ 0 w 489"/>
                    <a:gd name="T85" fmla="*/ 228 h 450"/>
                    <a:gd name="T86" fmla="*/ 33 w 489"/>
                    <a:gd name="T87" fmla="*/ 180 h 450"/>
                    <a:gd name="T88" fmla="*/ 51 w 489"/>
                    <a:gd name="T89" fmla="*/ 159 h 450"/>
                    <a:gd name="T90" fmla="*/ 66 w 489"/>
                    <a:gd name="T91" fmla="*/ 135 h 450"/>
                    <a:gd name="T92" fmla="*/ 99 w 489"/>
                    <a:gd name="T93" fmla="*/ 48 h 450"/>
                    <a:gd name="T94" fmla="*/ 132 w 489"/>
                    <a:gd name="T95" fmla="*/ 66 h 450"/>
                    <a:gd name="T96" fmla="*/ 150 w 489"/>
                    <a:gd name="T97" fmla="*/ 78 h 450"/>
                    <a:gd name="T98" fmla="*/ 159 w 489"/>
                    <a:gd name="T99" fmla="*/ 72 h 450"/>
                    <a:gd name="T100" fmla="*/ 165 w 489"/>
                    <a:gd name="T101" fmla="*/ 54 h 450"/>
                    <a:gd name="T102" fmla="*/ 153 w 489"/>
                    <a:gd name="T103" fmla="*/ 27 h 450"/>
                    <a:gd name="T104" fmla="*/ 177 w 489"/>
                    <a:gd name="T105" fmla="*/ 0 h 450"/>
                    <a:gd name="T106" fmla="*/ 192 w 489"/>
                    <a:gd name="T107" fmla="*/ 39 h 450"/>
                    <a:gd name="T108" fmla="*/ 231 w 489"/>
                    <a:gd name="T109" fmla="*/ 90 h 450"/>
                    <a:gd name="T110" fmla="*/ 264 w 489"/>
                    <a:gd name="T111" fmla="*/ 54 h 450"/>
                    <a:gd name="T112" fmla="*/ 324 w 489"/>
                    <a:gd name="T113" fmla="*/ 36 h 450"/>
                    <a:gd name="T114" fmla="*/ 336 w 489"/>
                    <a:gd name="T115" fmla="*/ 30 h 450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0" t="0" r="r" b="b"/>
                  <a:pathLst>
                    <a:path w="489" h="450">
                      <a:moveTo>
                        <a:pt x="336" y="30"/>
                      </a:moveTo>
                      <a:cubicBezTo>
                        <a:pt x="366" y="34"/>
                        <a:pt x="352" y="30"/>
                        <a:pt x="378" y="39"/>
                      </a:cubicBezTo>
                      <a:cubicBezTo>
                        <a:pt x="385" y="41"/>
                        <a:pt x="396" y="51"/>
                        <a:pt x="396" y="51"/>
                      </a:cubicBezTo>
                      <a:cubicBezTo>
                        <a:pt x="405" y="79"/>
                        <a:pt x="411" y="120"/>
                        <a:pt x="432" y="141"/>
                      </a:cubicBezTo>
                      <a:cubicBezTo>
                        <a:pt x="434" y="148"/>
                        <a:pt x="434" y="154"/>
                        <a:pt x="444" y="153"/>
                      </a:cubicBezTo>
                      <a:cubicBezTo>
                        <a:pt x="450" y="152"/>
                        <a:pt x="462" y="147"/>
                        <a:pt x="462" y="147"/>
                      </a:cubicBezTo>
                      <a:cubicBezTo>
                        <a:pt x="469" y="148"/>
                        <a:pt x="477" y="146"/>
                        <a:pt x="483" y="150"/>
                      </a:cubicBezTo>
                      <a:cubicBezTo>
                        <a:pt x="488" y="154"/>
                        <a:pt x="489" y="168"/>
                        <a:pt x="489" y="168"/>
                      </a:cubicBezTo>
                      <a:cubicBezTo>
                        <a:pt x="487" y="174"/>
                        <a:pt x="485" y="180"/>
                        <a:pt x="483" y="186"/>
                      </a:cubicBezTo>
                      <a:cubicBezTo>
                        <a:pt x="482" y="189"/>
                        <a:pt x="480" y="195"/>
                        <a:pt x="480" y="195"/>
                      </a:cubicBezTo>
                      <a:cubicBezTo>
                        <a:pt x="483" y="211"/>
                        <a:pt x="488" y="247"/>
                        <a:pt x="471" y="258"/>
                      </a:cubicBezTo>
                      <a:cubicBezTo>
                        <a:pt x="463" y="263"/>
                        <a:pt x="444" y="267"/>
                        <a:pt x="444" y="267"/>
                      </a:cubicBezTo>
                      <a:cubicBezTo>
                        <a:pt x="438" y="265"/>
                        <a:pt x="432" y="263"/>
                        <a:pt x="426" y="261"/>
                      </a:cubicBezTo>
                      <a:cubicBezTo>
                        <a:pt x="423" y="260"/>
                        <a:pt x="417" y="258"/>
                        <a:pt x="417" y="258"/>
                      </a:cubicBezTo>
                      <a:cubicBezTo>
                        <a:pt x="405" y="240"/>
                        <a:pt x="395" y="235"/>
                        <a:pt x="375" y="228"/>
                      </a:cubicBezTo>
                      <a:cubicBezTo>
                        <a:pt x="369" y="226"/>
                        <a:pt x="357" y="222"/>
                        <a:pt x="357" y="222"/>
                      </a:cubicBezTo>
                      <a:cubicBezTo>
                        <a:pt x="350" y="223"/>
                        <a:pt x="342" y="221"/>
                        <a:pt x="336" y="225"/>
                      </a:cubicBezTo>
                      <a:cubicBezTo>
                        <a:pt x="331" y="229"/>
                        <a:pt x="330" y="243"/>
                        <a:pt x="330" y="243"/>
                      </a:cubicBezTo>
                      <a:cubicBezTo>
                        <a:pt x="332" y="271"/>
                        <a:pt x="346" y="316"/>
                        <a:pt x="312" y="327"/>
                      </a:cubicBezTo>
                      <a:cubicBezTo>
                        <a:pt x="302" y="343"/>
                        <a:pt x="306" y="360"/>
                        <a:pt x="324" y="366"/>
                      </a:cubicBezTo>
                      <a:cubicBezTo>
                        <a:pt x="327" y="365"/>
                        <a:pt x="330" y="364"/>
                        <a:pt x="333" y="363"/>
                      </a:cubicBezTo>
                      <a:cubicBezTo>
                        <a:pt x="336" y="361"/>
                        <a:pt x="339" y="358"/>
                        <a:pt x="342" y="357"/>
                      </a:cubicBezTo>
                      <a:cubicBezTo>
                        <a:pt x="348" y="354"/>
                        <a:pt x="360" y="351"/>
                        <a:pt x="360" y="351"/>
                      </a:cubicBezTo>
                      <a:cubicBezTo>
                        <a:pt x="366" y="352"/>
                        <a:pt x="373" y="350"/>
                        <a:pt x="378" y="354"/>
                      </a:cubicBezTo>
                      <a:cubicBezTo>
                        <a:pt x="383" y="358"/>
                        <a:pt x="384" y="372"/>
                        <a:pt x="384" y="372"/>
                      </a:cubicBezTo>
                      <a:cubicBezTo>
                        <a:pt x="380" y="385"/>
                        <a:pt x="373" y="384"/>
                        <a:pt x="360" y="387"/>
                      </a:cubicBezTo>
                      <a:cubicBezTo>
                        <a:pt x="339" y="401"/>
                        <a:pt x="349" y="397"/>
                        <a:pt x="333" y="402"/>
                      </a:cubicBezTo>
                      <a:cubicBezTo>
                        <a:pt x="329" y="414"/>
                        <a:pt x="323" y="446"/>
                        <a:pt x="321" y="447"/>
                      </a:cubicBezTo>
                      <a:cubicBezTo>
                        <a:pt x="312" y="450"/>
                        <a:pt x="301" y="449"/>
                        <a:pt x="291" y="450"/>
                      </a:cubicBezTo>
                      <a:cubicBezTo>
                        <a:pt x="273" y="447"/>
                        <a:pt x="263" y="441"/>
                        <a:pt x="246" y="435"/>
                      </a:cubicBezTo>
                      <a:cubicBezTo>
                        <a:pt x="243" y="436"/>
                        <a:pt x="239" y="440"/>
                        <a:pt x="237" y="438"/>
                      </a:cubicBezTo>
                      <a:cubicBezTo>
                        <a:pt x="222" y="423"/>
                        <a:pt x="238" y="420"/>
                        <a:pt x="216" y="405"/>
                      </a:cubicBezTo>
                      <a:cubicBezTo>
                        <a:pt x="209" y="378"/>
                        <a:pt x="207" y="384"/>
                        <a:pt x="174" y="381"/>
                      </a:cubicBezTo>
                      <a:cubicBezTo>
                        <a:pt x="171" y="377"/>
                        <a:pt x="166" y="366"/>
                        <a:pt x="159" y="366"/>
                      </a:cubicBezTo>
                      <a:cubicBezTo>
                        <a:pt x="153" y="366"/>
                        <a:pt x="141" y="372"/>
                        <a:pt x="141" y="372"/>
                      </a:cubicBezTo>
                      <a:cubicBezTo>
                        <a:pt x="134" y="370"/>
                        <a:pt x="125" y="369"/>
                        <a:pt x="120" y="363"/>
                      </a:cubicBezTo>
                      <a:cubicBezTo>
                        <a:pt x="118" y="361"/>
                        <a:pt x="119" y="356"/>
                        <a:pt x="117" y="354"/>
                      </a:cubicBezTo>
                      <a:cubicBezTo>
                        <a:pt x="116" y="353"/>
                        <a:pt x="96" y="348"/>
                        <a:pt x="96" y="348"/>
                      </a:cubicBezTo>
                      <a:cubicBezTo>
                        <a:pt x="90" y="344"/>
                        <a:pt x="84" y="340"/>
                        <a:pt x="78" y="336"/>
                      </a:cubicBezTo>
                      <a:cubicBezTo>
                        <a:pt x="75" y="334"/>
                        <a:pt x="67" y="312"/>
                        <a:pt x="54" y="303"/>
                      </a:cubicBezTo>
                      <a:cubicBezTo>
                        <a:pt x="47" y="292"/>
                        <a:pt x="35" y="280"/>
                        <a:pt x="24" y="273"/>
                      </a:cubicBezTo>
                      <a:cubicBezTo>
                        <a:pt x="20" y="267"/>
                        <a:pt x="13" y="264"/>
                        <a:pt x="9" y="258"/>
                      </a:cubicBezTo>
                      <a:cubicBezTo>
                        <a:pt x="6" y="253"/>
                        <a:pt x="2" y="235"/>
                        <a:pt x="0" y="228"/>
                      </a:cubicBezTo>
                      <a:cubicBezTo>
                        <a:pt x="3" y="200"/>
                        <a:pt x="6" y="189"/>
                        <a:pt x="33" y="180"/>
                      </a:cubicBezTo>
                      <a:cubicBezTo>
                        <a:pt x="40" y="169"/>
                        <a:pt x="39" y="163"/>
                        <a:pt x="51" y="159"/>
                      </a:cubicBezTo>
                      <a:cubicBezTo>
                        <a:pt x="55" y="147"/>
                        <a:pt x="62" y="147"/>
                        <a:pt x="66" y="135"/>
                      </a:cubicBezTo>
                      <a:cubicBezTo>
                        <a:pt x="68" y="103"/>
                        <a:pt x="62" y="60"/>
                        <a:pt x="99" y="48"/>
                      </a:cubicBezTo>
                      <a:cubicBezTo>
                        <a:pt x="122" y="52"/>
                        <a:pt x="117" y="53"/>
                        <a:pt x="132" y="66"/>
                      </a:cubicBezTo>
                      <a:cubicBezTo>
                        <a:pt x="137" y="71"/>
                        <a:pt x="150" y="78"/>
                        <a:pt x="150" y="78"/>
                      </a:cubicBezTo>
                      <a:cubicBezTo>
                        <a:pt x="153" y="76"/>
                        <a:pt x="157" y="75"/>
                        <a:pt x="159" y="72"/>
                      </a:cubicBezTo>
                      <a:cubicBezTo>
                        <a:pt x="162" y="67"/>
                        <a:pt x="165" y="54"/>
                        <a:pt x="165" y="54"/>
                      </a:cubicBezTo>
                      <a:cubicBezTo>
                        <a:pt x="162" y="44"/>
                        <a:pt x="156" y="37"/>
                        <a:pt x="153" y="27"/>
                      </a:cubicBezTo>
                      <a:cubicBezTo>
                        <a:pt x="159" y="8"/>
                        <a:pt x="158" y="6"/>
                        <a:pt x="177" y="0"/>
                      </a:cubicBezTo>
                      <a:cubicBezTo>
                        <a:pt x="195" y="6"/>
                        <a:pt x="189" y="21"/>
                        <a:pt x="192" y="39"/>
                      </a:cubicBezTo>
                      <a:cubicBezTo>
                        <a:pt x="195" y="57"/>
                        <a:pt x="217" y="80"/>
                        <a:pt x="231" y="90"/>
                      </a:cubicBezTo>
                      <a:cubicBezTo>
                        <a:pt x="249" y="84"/>
                        <a:pt x="248" y="64"/>
                        <a:pt x="264" y="54"/>
                      </a:cubicBezTo>
                      <a:cubicBezTo>
                        <a:pt x="277" y="34"/>
                        <a:pt x="303" y="38"/>
                        <a:pt x="324" y="36"/>
                      </a:cubicBezTo>
                      <a:cubicBezTo>
                        <a:pt x="334" y="33"/>
                        <a:pt x="331" y="35"/>
                        <a:pt x="336" y="30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51" name="Freeform 101"/>
                <p:cNvSpPr>
                  <a:spLocks/>
                </p:cNvSpPr>
                <p:nvPr/>
              </p:nvSpPr>
              <p:spPr bwMode="gray">
                <a:xfrm>
                  <a:off x="735" y="2142"/>
                  <a:ext cx="420" cy="343"/>
                </a:xfrm>
                <a:custGeom>
                  <a:avLst/>
                  <a:gdLst>
                    <a:gd name="T0" fmla="*/ 171 w 420"/>
                    <a:gd name="T1" fmla="*/ 0 h 343"/>
                    <a:gd name="T2" fmla="*/ 189 w 420"/>
                    <a:gd name="T3" fmla="*/ 21 h 343"/>
                    <a:gd name="T4" fmla="*/ 183 w 420"/>
                    <a:gd name="T5" fmla="*/ 45 h 343"/>
                    <a:gd name="T6" fmla="*/ 222 w 420"/>
                    <a:gd name="T7" fmla="*/ 120 h 343"/>
                    <a:gd name="T8" fmla="*/ 252 w 420"/>
                    <a:gd name="T9" fmla="*/ 156 h 343"/>
                    <a:gd name="T10" fmla="*/ 261 w 420"/>
                    <a:gd name="T11" fmla="*/ 165 h 343"/>
                    <a:gd name="T12" fmla="*/ 303 w 420"/>
                    <a:gd name="T13" fmla="*/ 198 h 343"/>
                    <a:gd name="T14" fmla="*/ 321 w 420"/>
                    <a:gd name="T15" fmla="*/ 210 h 343"/>
                    <a:gd name="T16" fmla="*/ 342 w 420"/>
                    <a:gd name="T17" fmla="*/ 204 h 343"/>
                    <a:gd name="T18" fmla="*/ 366 w 420"/>
                    <a:gd name="T19" fmla="*/ 222 h 343"/>
                    <a:gd name="T20" fmla="*/ 390 w 420"/>
                    <a:gd name="T21" fmla="*/ 228 h 343"/>
                    <a:gd name="T22" fmla="*/ 408 w 420"/>
                    <a:gd name="T23" fmla="*/ 252 h 343"/>
                    <a:gd name="T24" fmla="*/ 420 w 420"/>
                    <a:gd name="T25" fmla="*/ 279 h 343"/>
                    <a:gd name="T26" fmla="*/ 384 w 420"/>
                    <a:gd name="T27" fmla="*/ 300 h 343"/>
                    <a:gd name="T28" fmla="*/ 387 w 420"/>
                    <a:gd name="T29" fmla="*/ 330 h 343"/>
                    <a:gd name="T30" fmla="*/ 360 w 420"/>
                    <a:gd name="T31" fmla="*/ 333 h 343"/>
                    <a:gd name="T32" fmla="*/ 342 w 420"/>
                    <a:gd name="T33" fmla="*/ 339 h 343"/>
                    <a:gd name="T34" fmla="*/ 288 w 420"/>
                    <a:gd name="T35" fmla="*/ 312 h 343"/>
                    <a:gd name="T36" fmla="*/ 261 w 420"/>
                    <a:gd name="T37" fmla="*/ 300 h 343"/>
                    <a:gd name="T38" fmla="*/ 219 w 420"/>
                    <a:gd name="T39" fmla="*/ 261 h 343"/>
                    <a:gd name="T40" fmla="*/ 195 w 420"/>
                    <a:gd name="T41" fmla="*/ 255 h 343"/>
                    <a:gd name="T42" fmla="*/ 150 w 420"/>
                    <a:gd name="T43" fmla="*/ 258 h 343"/>
                    <a:gd name="T44" fmla="*/ 114 w 420"/>
                    <a:gd name="T45" fmla="*/ 225 h 343"/>
                    <a:gd name="T46" fmla="*/ 102 w 420"/>
                    <a:gd name="T47" fmla="*/ 207 h 343"/>
                    <a:gd name="T48" fmla="*/ 57 w 420"/>
                    <a:gd name="T49" fmla="*/ 183 h 343"/>
                    <a:gd name="T50" fmla="*/ 9 w 420"/>
                    <a:gd name="T51" fmla="*/ 135 h 343"/>
                    <a:gd name="T52" fmla="*/ 0 w 420"/>
                    <a:gd name="T53" fmla="*/ 105 h 343"/>
                    <a:gd name="T54" fmla="*/ 39 w 420"/>
                    <a:gd name="T55" fmla="*/ 78 h 343"/>
                    <a:gd name="T56" fmla="*/ 66 w 420"/>
                    <a:gd name="T57" fmla="*/ 48 h 343"/>
                    <a:gd name="T58" fmla="*/ 93 w 420"/>
                    <a:gd name="T59" fmla="*/ 15 h 343"/>
                    <a:gd name="T60" fmla="*/ 111 w 420"/>
                    <a:gd name="T61" fmla="*/ 9 h 343"/>
                    <a:gd name="T62" fmla="*/ 123 w 420"/>
                    <a:gd name="T63" fmla="*/ 12 h 343"/>
                    <a:gd name="T64" fmla="*/ 129 w 420"/>
                    <a:gd name="T65" fmla="*/ 21 h 343"/>
                    <a:gd name="T66" fmla="*/ 147 w 420"/>
                    <a:gd name="T67" fmla="*/ 27 h 343"/>
                    <a:gd name="T68" fmla="*/ 171 w 420"/>
                    <a:gd name="T69" fmla="*/ 0 h 343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0" t="0" r="r" b="b"/>
                  <a:pathLst>
                    <a:path w="420" h="343">
                      <a:moveTo>
                        <a:pt x="171" y="0"/>
                      </a:moveTo>
                      <a:cubicBezTo>
                        <a:pt x="178" y="11"/>
                        <a:pt x="177" y="17"/>
                        <a:pt x="189" y="21"/>
                      </a:cubicBezTo>
                      <a:cubicBezTo>
                        <a:pt x="197" y="34"/>
                        <a:pt x="195" y="37"/>
                        <a:pt x="183" y="45"/>
                      </a:cubicBezTo>
                      <a:cubicBezTo>
                        <a:pt x="174" y="71"/>
                        <a:pt x="198" y="112"/>
                        <a:pt x="222" y="120"/>
                      </a:cubicBezTo>
                      <a:cubicBezTo>
                        <a:pt x="239" y="145"/>
                        <a:pt x="229" y="133"/>
                        <a:pt x="252" y="156"/>
                      </a:cubicBezTo>
                      <a:cubicBezTo>
                        <a:pt x="255" y="159"/>
                        <a:pt x="261" y="165"/>
                        <a:pt x="261" y="165"/>
                      </a:cubicBezTo>
                      <a:cubicBezTo>
                        <a:pt x="268" y="185"/>
                        <a:pt x="283" y="191"/>
                        <a:pt x="303" y="198"/>
                      </a:cubicBezTo>
                      <a:cubicBezTo>
                        <a:pt x="310" y="200"/>
                        <a:pt x="321" y="210"/>
                        <a:pt x="321" y="210"/>
                      </a:cubicBezTo>
                      <a:cubicBezTo>
                        <a:pt x="328" y="208"/>
                        <a:pt x="335" y="201"/>
                        <a:pt x="342" y="204"/>
                      </a:cubicBezTo>
                      <a:cubicBezTo>
                        <a:pt x="348" y="206"/>
                        <a:pt x="353" y="218"/>
                        <a:pt x="366" y="222"/>
                      </a:cubicBezTo>
                      <a:cubicBezTo>
                        <a:pt x="374" y="224"/>
                        <a:pt x="390" y="228"/>
                        <a:pt x="390" y="228"/>
                      </a:cubicBezTo>
                      <a:cubicBezTo>
                        <a:pt x="394" y="240"/>
                        <a:pt x="398" y="245"/>
                        <a:pt x="408" y="252"/>
                      </a:cubicBezTo>
                      <a:cubicBezTo>
                        <a:pt x="413" y="260"/>
                        <a:pt x="420" y="279"/>
                        <a:pt x="420" y="279"/>
                      </a:cubicBezTo>
                      <a:cubicBezTo>
                        <a:pt x="414" y="296"/>
                        <a:pt x="400" y="297"/>
                        <a:pt x="384" y="300"/>
                      </a:cubicBezTo>
                      <a:cubicBezTo>
                        <a:pt x="380" y="312"/>
                        <a:pt x="383" y="319"/>
                        <a:pt x="387" y="330"/>
                      </a:cubicBezTo>
                      <a:cubicBezTo>
                        <a:pt x="367" y="343"/>
                        <a:pt x="391" y="330"/>
                        <a:pt x="360" y="333"/>
                      </a:cubicBezTo>
                      <a:cubicBezTo>
                        <a:pt x="354" y="334"/>
                        <a:pt x="342" y="339"/>
                        <a:pt x="342" y="339"/>
                      </a:cubicBezTo>
                      <a:cubicBezTo>
                        <a:pt x="324" y="333"/>
                        <a:pt x="305" y="320"/>
                        <a:pt x="288" y="312"/>
                      </a:cubicBezTo>
                      <a:cubicBezTo>
                        <a:pt x="279" y="308"/>
                        <a:pt x="261" y="300"/>
                        <a:pt x="261" y="300"/>
                      </a:cubicBezTo>
                      <a:cubicBezTo>
                        <a:pt x="253" y="276"/>
                        <a:pt x="243" y="267"/>
                        <a:pt x="219" y="261"/>
                      </a:cubicBezTo>
                      <a:cubicBezTo>
                        <a:pt x="211" y="259"/>
                        <a:pt x="195" y="255"/>
                        <a:pt x="195" y="255"/>
                      </a:cubicBezTo>
                      <a:cubicBezTo>
                        <a:pt x="175" y="242"/>
                        <a:pt x="170" y="251"/>
                        <a:pt x="150" y="258"/>
                      </a:cubicBezTo>
                      <a:cubicBezTo>
                        <a:pt x="127" y="250"/>
                        <a:pt x="128" y="243"/>
                        <a:pt x="114" y="225"/>
                      </a:cubicBezTo>
                      <a:cubicBezTo>
                        <a:pt x="110" y="219"/>
                        <a:pt x="108" y="211"/>
                        <a:pt x="102" y="207"/>
                      </a:cubicBezTo>
                      <a:cubicBezTo>
                        <a:pt x="87" y="197"/>
                        <a:pt x="72" y="193"/>
                        <a:pt x="57" y="183"/>
                      </a:cubicBezTo>
                      <a:cubicBezTo>
                        <a:pt x="49" y="159"/>
                        <a:pt x="33" y="143"/>
                        <a:pt x="9" y="135"/>
                      </a:cubicBezTo>
                      <a:cubicBezTo>
                        <a:pt x="2" y="113"/>
                        <a:pt x="5" y="123"/>
                        <a:pt x="0" y="105"/>
                      </a:cubicBezTo>
                      <a:cubicBezTo>
                        <a:pt x="7" y="79"/>
                        <a:pt x="10" y="82"/>
                        <a:pt x="39" y="78"/>
                      </a:cubicBezTo>
                      <a:cubicBezTo>
                        <a:pt x="52" y="70"/>
                        <a:pt x="53" y="57"/>
                        <a:pt x="66" y="48"/>
                      </a:cubicBezTo>
                      <a:cubicBezTo>
                        <a:pt x="75" y="35"/>
                        <a:pt x="84" y="29"/>
                        <a:pt x="93" y="15"/>
                      </a:cubicBezTo>
                      <a:cubicBezTo>
                        <a:pt x="97" y="10"/>
                        <a:pt x="111" y="9"/>
                        <a:pt x="111" y="9"/>
                      </a:cubicBezTo>
                      <a:cubicBezTo>
                        <a:pt x="115" y="10"/>
                        <a:pt x="120" y="10"/>
                        <a:pt x="123" y="12"/>
                      </a:cubicBezTo>
                      <a:cubicBezTo>
                        <a:pt x="126" y="14"/>
                        <a:pt x="126" y="19"/>
                        <a:pt x="129" y="21"/>
                      </a:cubicBezTo>
                      <a:cubicBezTo>
                        <a:pt x="134" y="24"/>
                        <a:pt x="147" y="27"/>
                        <a:pt x="147" y="27"/>
                      </a:cubicBezTo>
                      <a:cubicBezTo>
                        <a:pt x="171" y="23"/>
                        <a:pt x="166" y="21"/>
                        <a:pt x="171" y="0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52" name="Freeform 102"/>
                <p:cNvSpPr>
                  <a:spLocks/>
                </p:cNvSpPr>
                <p:nvPr/>
              </p:nvSpPr>
              <p:spPr bwMode="gray">
                <a:xfrm>
                  <a:off x="515" y="2115"/>
                  <a:ext cx="232" cy="177"/>
                </a:xfrm>
                <a:custGeom>
                  <a:avLst/>
                  <a:gdLst>
                    <a:gd name="T0" fmla="*/ 172 w 232"/>
                    <a:gd name="T1" fmla="*/ 45 h 177"/>
                    <a:gd name="T2" fmla="*/ 199 w 232"/>
                    <a:gd name="T3" fmla="*/ 48 h 177"/>
                    <a:gd name="T4" fmla="*/ 205 w 232"/>
                    <a:gd name="T5" fmla="*/ 72 h 177"/>
                    <a:gd name="T6" fmla="*/ 229 w 232"/>
                    <a:gd name="T7" fmla="*/ 117 h 177"/>
                    <a:gd name="T8" fmla="*/ 226 w 232"/>
                    <a:gd name="T9" fmla="*/ 150 h 177"/>
                    <a:gd name="T10" fmla="*/ 232 w 232"/>
                    <a:gd name="T11" fmla="*/ 168 h 177"/>
                    <a:gd name="T12" fmla="*/ 166 w 232"/>
                    <a:gd name="T13" fmla="*/ 147 h 177"/>
                    <a:gd name="T14" fmla="*/ 133 w 232"/>
                    <a:gd name="T15" fmla="*/ 144 h 177"/>
                    <a:gd name="T16" fmla="*/ 106 w 232"/>
                    <a:gd name="T17" fmla="*/ 141 h 177"/>
                    <a:gd name="T18" fmla="*/ 61 w 232"/>
                    <a:gd name="T19" fmla="*/ 138 h 177"/>
                    <a:gd name="T20" fmla="*/ 13 w 232"/>
                    <a:gd name="T21" fmla="*/ 120 h 177"/>
                    <a:gd name="T22" fmla="*/ 10 w 232"/>
                    <a:gd name="T23" fmla="*/ 87 h 177"/>
                    <a:gd name="T24" fmla="*/ 37 w 232"/>
                    <a:gd name="T25" fmla="*/ 69 h 177"/>
                    <a:gd name="T26" fmla="*/ 52 w 232"/>
                    <a:gd name="T27" fmla="*/ 0 h 177"/>
                    <a:gd name="T28" fmla="*/ 136 w 232"/>
                    <a:gd name="T29" fmla="*/ 9 h 177"/>
                    <a:gd name="T30" fmla="*/ 163 w 232"/>
                    <a:gd name="T31" fmla="*/ 21 h 177"/>
                    <a:gd name="T32" fmla="*/ 172 w 232"/>
                    <a:gd name="T33" fmla="*/ 45 h 177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0" t="0" r="r" b="b"/>
                  <a:pathLst>
                    <a:path w="232" h="177">
                      <a:moveTo>
                        <a:pt x="172" y="45"/>
                      </a:moveTo>
                      <a:cubicBezTo>
                        <a:pt x="181" y="46"/>
                        <a:pt x="192" y="42"/>
                        <a:pt x="199" y="48"/>
                      </a:cubicBezTo>
                      <a:cubicBezTo>
                        <a:pt x="205" y="53"/>
                        <a:pt x="202" y="64"/>
                        <a:pt x="205" y="72"/>
                      </a:cubicBezTo>
                      <a:cubicBezTo>
                        <a:pt x="210" y="86"/>
                        <a:pt x="220" y="104"/>
                        <a:pt x="229" y="117"/>
                      </a:cubicBezTo>
                      <a:cubicBezTo>
                        <a:pt x="219" y="131"/>
                        <a:pt x="221" y="125"/>
                        <a:pt x="226" y="150"/>
                      </a:cubicBezTo>
                      <a:cubicBezTo>
                        <a:pt x="227" y="156"/>
                        <a:pt x="232" y="168"/>
                        <a:pt x="232" y="168"/>
                      </a:cubicBezTo>
                      <a:cubicBezTo>
                        <a:pt x="204" y="177"/>
                        <a:pt x="190" y="155"/>
                        <a:pt x="166" y="147"/>
                      </a:cubicBezTo>
                      <a:cubicBezTo>
                        <a:pt x="156" y="131"/>
                        <a:pt x="147" y="134"/>
                        <a:pt x="133" y="144"/>
                      </a:cubicBezTo>
                      <a:cubicBezTo>
                        <a:pt x="124" y="143"/>
                        <a:pt x="115" y="142"/>
                        <a:pt x="106" y="141"/>
                      </a:cubicBezTo>
                      <a:cubicBezTo>
                        <a:pt x="91" y="140"/>
                        <a:pt x="76" y="140"/>
                        <a:pt x="61" y="138"/>
                      </a:cubicBezTo>
                      <a:cubicBezTo>
                        <a:pt x="43" y="136"/>
                        <a:pt x="29" y="125"/>
                        <a:pt x="13" y="120"/>
                      </a:cubicBezTo>
                      <a:cubicBezTo>
                        <a:pt x="6" y="109"/>
                        <a:pt x="0" y="104"/>
                        <a:pt x="10" y="87"/>
                      </a:cubicBezTo>
                      <a:cubicBezTo>
                        <a:pt x="15" y="78"/>
                        <a:pt x="37" y="69"/>
                        <a:pt x="37" y="69"/>
                      </a:cubicBezTo>
                      <a:cubicBezTo>
                        <a:pt x="45" y="45"/>
                        <a:pt x="38" y="21"/>
                        <a:pt x="52" y="0"/>
                      </a:cubicBezTo>
                      <a:cubicBezTo>
                        <a:pt x="80" y="3"/>
                        <a:pt x="108" y="5"/>
                        <a:pt x="136" y="9"/>
                      </a:cubicBezTo>
                      <a:cubicBezTo>
                        <a:pt x="157" y="16"/>
                        <a:pt x="149" y="11"/>
                        <a:pt x="163" y="21"/>
                      </a:cubicBezTo>
                      <a:cubicBezTo>
                        <a:pt x="170" y="41"/>
                        <a:pt x="166" y="33"/>
                        <a:pt x="172" y="45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53" name="Freeform 103"/>
                <p:cNvSpPr>
                  <a:spLocks/>
                </p:cNvSpPr>
                <p:nvPr/>
              </p:nvSpPr>
              <p:spPr bwMode="gray">
                <a:xfrm>
                  <a:off x="424" y="2046"/>
                  <a:ext cx="155" cy="259"/>
                </a:xfrm>
                <a:custGeom>
                  <a:avLst/>
                  <a:gdLst>
                    <a:gd name="T0" fmla="*/ 140 w 155"/>
                    <a:gd name="T1" fmla="*/ 0 h 259"/>
                    <a:gd name="T2" fmla="*/ 155 w 155"/>
                    <a:gd name="T3" fmla="*/ 24 h 259"/>
                    <a:gd name="T4" fmla="*/ 152 w 155"/>
                    <a:gd name="T5" fmla="*/ 66 h 259"/>
                    <a:gd name="T6" fmla="*/ 131 w 155"/>
                    <a:gd name="T7" fmla="*/ 126 h 259"/>
                    <a:gd name="T8" fmla="*/ 110 w 155"/>
                    <a:gd name="T9" fmla="*/ 147 h 259"/>
                    <a:gd name="T10" fmla="*/ 101 w 155"/>
                    <a:gd name="T11" fmla="*/ 153 h 259"/>
                    <a:gd name="T12" fmla="*/ 86 w 155"/>
                    <a:gd name="T13" fmla="*/ 219 h 259"/>
                    <a:gd name="T14" fmla="*/ 65 w 155"/>
                    <a:gd name="T15" fmla="*/ 240 h 259"/>
                    <a:gd name="T16" fmla="*/ 38 w 155"/>
                    <a:gd name="T17" fmla="*/ 225 h 259"/>
                    <a:gd name="T18" fmla="*/ 11 w 155"/>
                    <a:gd name="T19" fmla="*/ 210 h 259"/>
                    <a:gd name="T20" fmla="*/ 2 w 155"/>
                    <a:gd name="T21" fmla="*/ 156 h 259"/>
                    <a:gd name="T22" fmla="*/ 17 w 155"/>
                    <a:gd name="T23" fmla="*/ 111 h 259"/>
                    <a:gd name="T24" fmla="*/ 50 w 155"/>
                    <a:gd name="T25" fmla="*/ 90 h 259"/>
                    <a:gd name="T26" fmla="*/ 92 w 155"/>
                    <a:gd name="T27" fmla="*/ 27 h 259"/>
                    <a:gd name="T28" fmla="*/ 140 w 155"/>
                    <a:gd name="T29" fmla="*/ 0 h 259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0" t="0" r="r" b="b"/>
                  <a:pathLst>
                    <a:path w="155" h="259">
                      <a:moveTo>
                        <a:pt x="140" y="0"/>
                      </a:moveTo>
                      <a:cubicBezTo>
                        <a:pt x="147" y="21"/>
                        <a:pt x="141" y="14"/>
                        <a:pt x="155" y="24"/>
                      </a:cubicBezTo>
                      <a:cubicBezTo>
                        <a:pt x="154" y="38"/>
                        <a:pt x="154" y="52"/>
                        <a:pt x="152" y="66"/>
                      </a:cubicBezTo>
                      <a:cubicBezTo>
                        <a:pt x="150" y="80"/>
                        <a:pt x="136" y="108"/>
                        <a:pt x="131" y="126"/>
                      </a:cubicBezTo>
                      <a:cubicBezTo>
                        <a:pt x="127" y="141"/>
                        <a:pt x="127" y="136"/>
                        <a:pt x="110" y="147"/>
                      </a:cubicBezTo>
                      <a:cubicBezTo>
                        <a:pt x="107" y="149"/>
                        <a:pt x="101" y="153"/>
                        <a:pt x="101" y="153"/>
                      </a:cubicBezTo>
                      <a:cubicBezTo>
                        <a:pt x="98" y="176"/>
                        <a:pt x="92" y="197"/>
                        <a:pt x="86" y="219"/>
                      </a:cubicBezTo>
                      <a:cubicBezTo>
                        <a:pt x="83" y="229"/>
                        <a:pt x="65" y="240"/>
                        <a:pt x="65" y="240"/>
                      </a:cubicBezTo>
                      <a:cubicBezTo>
                        <a:pt x="53" y="259"/>
                        <a:pt x="52" y="232"/>
                        <a:pt x="38" y="225"/>
                      </a:cubicBezTo>
                      <a:cubicBezTo>
                        <a:pt x="29" y="220"/>
                        <a:pt x="11" y="210"/>
                        <a:pt x="11" y="210"/>
                      </a:cubicBezTo>
                      <a:cubicBezTo>
                        <a:pt x="9" y="191"/>
                        <a:pt x="6" y="175"/>
                        <a:pt x="2" y="156"/>
                      </a:cubicBezTo>
                      <a:cubicBezTo>
                        <a:pt x="4" y="134"/>
                        <a:pt x="0" y="122"/>
                        <a:pt x="17" y="111"/>
                      </a:cubicBezTo>
                      <a:cubicBezTo>
                        <a:pt x="25" y="99"/>
                        <a:pt x="38" y="98"/>
                        <a:pt x="50" y="90"/>
                      </a:cubicBezTo>
                      <a:cubicBezTo>
                        <a:pt x="60" y="59"/>
                        <a:pt x="55" y="39"/>
                        <a:pt x="92" y="27"/>
                      </a:cubicBezTo>
                      <a:cubicBezTo>
                        <a:pt x="102" y="11"/>
                        <a:pt x="121" y="0"/>
                        <a:pt x="140" y="0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54" name="Freeform 104"/>
                <p:cNvSpPr>
                  <a:spLocks/>
                </p:cNvSpPr>
                <p:nvPr/>
              </p:nvSpPr>
              <p:spPr bwMode="gray">
                <a:xfrm>
                  <a:off x="237" y="2049"/>
                  <a:ext cx="93" cy="113"/>
                </a:xfrm>
                <a:custGeom>
                  <a:avLst/>
                  <a:gdLst>
                    <a:gd name="T0" fmla="*/ 0 w 93"/>
                    <a:gd name="T1" fmla="*/ 9 h 113"/>
                    <a:gd name="T2" fmla="*/ 63 w 93"/>
                    <a:gd name="T3" fmla="*/ 15 h 113"/>
                    <a:gd name="T4" fmla="*/ 84 w 93"/>
                    <a:gd name="T5" fmla="*/ 33 h 113"/>
                    <a:gd name="T6" fmla="*/ 84 w 93"/>
                    <a:gd name="T7" fmla="*/ 111 h 113"/>
                    <a:gd name="T8" fmla="*/ 60 w 93"/>
                    <a:gd name="T9" fmla="*/ 108 h 113"/>
                    <a:gd name="T10" fmla="*/ 45 w 93"/>
                    <a:gd name="T11" fmla="*/ 81 h 113"/>
                    <a:gd name="T12" fmla="*/ 27 w 93"/>
                    <a:gd name="T13" fmla="*/ 69 h 113"/>
                    <a:gd name="T14" fmla="*/ 18 w 93"/>
                    <a:gd name="T15" fmla="*/ 42 h 113"/>
                    <a:gd name="T16" fmla="*/ 0 w 93"/>
                    <a:gd name="T17" fmla="*/ 9 h 113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93" h="113">
                      <a:moveTo>
                        <a:pt x="0" y="9"/>
                      </a:moveTo>
                      <a:cubicBezTo>
                        <a:pt x="25" y="5"/>
                        <a:pt x="41" y="0"/>
                        <a:pt x="63" y="15"/>
                      </a:cubicBezTo>
                      <a:cubicBezTo>
                        <a:pt x="67" y="27"/>
                        <a:pt x="72" y="29"/>
                        <a:pt x="84" y="33"/>
                      </a:cubicBezTo>
                      <a:cubicBezTo>
                        <a:pt x="89" y="60"/>
                        <a:pt x="93" y="84"/>
                        <a:pt x="84" y="111"/>
                      </a:cubicBezTo>
                      <a:cubicBezTo>
                        <a:pt x="76" y="110"/>
                        <a:pt x="67" y="113"/>
                        <a:pt x="60" y="108"/>
                      </a:cubicBezTo>
                      <a:cubicBezTo>
                        <a:pt x="52" y="102"/>
                        <a:pt x="53" y="87"/>
                        <a:pt x="45" y="81"/>
                      </a:cubicBezTo>
                      <a:cubicBezTo>
                        <a:pt x="39" y="77"/>
                        <a:pt x="27" y="69"/>
                        <a:pt x="27" y="69"/>
                      </a:cubicBezTo>
                      <a:cubicBezTo>
                        <a:pt x="24" y="60"/>
                        <a:pt x="23" y="50"/>
                        <a:pt x="18" y="42"/>
                      </a:cubicBezTo>
                      <a:cubicBezTo>
                        <a:pt x="11" y="32"/>
                        <a:pt x="0" y="22"/>
                        <a:pt x="0" y="9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55" name="Freeform 105"/>
                <p:cNvSpPr>
                  <a:spLocks/>
                </p:cNvSpPr>
                <p:nvPr/>
              </p:nvSpPr>
              <p:spPr bwMode="gray">
                <a:xfrm>
                  <a:off x="559" y="1981"/>
                  <a:ext cx="296" cy="248"/>
                </a:xfrm>
                <a:custGeom>
                  <a:avLst/>
                  <a:gdLst>
                    <a:gd name="T0" fmla="*/ 167 w 296"/>
                    <a:gd name="T1" fmla="*/ 8 h 248"/>
                    <a:gd name="T2" fmla="*/ 122 w 296"/>
                    <a:gd name="T3" fmla="*/ 5 h 248"/>
                    <a:gd name="T4" fmla="*/ 101 w 296"/>
                    <a:gd name="T5" fmla="*/ 26 h 248"/>
                    <a:gd name="T6" fmla="*/ 116 w 296"/>
                    <a:gd name="T7" fmla="*/ 41 h 248"/>
                    <a:gd name="T8" fmla="*/ 122 w 296"/>
                    <a:gd name="T9" fmla="*/ 59 h 248"/>
                    <a:gd name="T10" fmla="*/ 98 w 296"/>
                    <a:gd name="T11" fmla="*/ 83 h 248"/>
                    <a:gd name="T12" fmla="*/ 59 w 296"/>
                    <a:gd name="T13" fmla="*/ 50 h 248"/>
                    <a:gd name="T14" fmla="*/ 5 w 296"/>
                    <a:gd name="T15" fmla="*/ 62 h 248"/>
                    <a:gd name="T16" fmla="*/ 11 w 296"/>
                    <a:gd name="T17" fmla="*/ 89 h 248"/>
                    <a:gd name="T18" fmla="*/ 17 w 296"/>
                    <a:gd name="T19" fmla="*/ 107 h 248"/>
                    <a:gd name="T20" fmla="*/ 62 w 296"/>
                    <a:gd name="T21" fmla="*/ 140 h 248"/>
                    <a:gd name="T22" fmla="*/ 95 w 296"/>
                    <a:gd name="T23" fmla="*/ 149 h 248"/>
                    <a:gd name="T24" fmla="*/ 161 w 296"/>
                    <a:gd name="T25" fmla="*/ 197 h 248"/>
                    <a:gd name="T26" fmla="*/ 188 w 296"/>
                    <a:gd name="T27" fmla="*/ 248 h 248"/>
                    <a:gd name="T28" fmla="*/ 227 w 296"/>
                    <a:gd name="T29" fmla="*/ 230 h 248"/>
                    <a:gd name="T30" fmla="*/ 239 w 296"/>
                    <a:gd name="T31" fmla="*/ 218 h 248"/>
                    <a:gd name="T32" fmla="*/ 257 w 296"/>
                    <a:gd name="T33" fmla="*/ 206 h 248"/>
                    <a:gd name="T34" fmla="*/ 269 w 296"/>
                    <a:gd name="T35" fmla="*/ 179 h 248"/>
                    <a:gd name="T36" fmla="*/ 287 w 296"/>
                    <a:gd name="T37" fmla="*/ 173 h 248"/>
                    <a:gd name="T38" fmla="*/ 296 w 296"/>
                    <a:gd name="T39" fmla="*/ 170 h 248"/>
                    <a:gd name="T40" fmla="*/ 263 w 296"/>
                    <a:gd name="T41" fmla="*/ 110 h 248"/>
                    <a:gd name="T42" fmla="*/ 230 w 296"/>
                    <a:gd name="T43" fmla="*/ 119 h 248"/>
                    <a:gd name="T44" fmla="*/ 221 w 296"/>
                    <a:gd name="T45" fmla="*/ 122 h 248"/>
                    <a:gd name="T46" fmla="*/ 194 w 296"/>
                    <a:gd name="T47" fmla="*/ 128 h 248"/>
                    <a:gd name="T48" fmla="*/ 176 w 296"/>
                    <a:gd name="T49" fmla="*/ 122 h 248"/>
                    <a:gd name="T50" fmla="*/ 173 w 296"/>
                    <a:gd name="T51" fmla="*/ 113 h 248"/>
                    <a:gd name="T52" fmla="*/ 158 w 296"/>
                    <a:gd name="T53" fmla="*/ 101 h 248"/>
                    <a:gd name="T54" fmla="*/ 167 w 296"/>
                    <a:gd name="T55" fmla="*/ 65 h 248"/>
                    <a:gd name="T56" fmla="*/ 167 w 296"/>
                    <a:gd name="T57" fmla="*/ 8 h 248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0" t="0" r="r" b="b"/>
                  <a:pathLst>
                    <a:path w="296" h="248">
                      <a:moveTo>
                        <a:pt x="167" y="8"/>
                      </a:moveTo>
                      <a:cubicBezTo>
                        <a:pt x="136" y="0"/>
                        <a:pt x="151" y="1"/>
                        <a:pt x="122" y="5"/>
                      </a:cubicBezTo>
                      <a:cubicBezTo>
                        <a:pt x="113" y="8"/>
                        <a:pt x="101" y="26"/>
                        <a:pt x="101" y="26"/>
                      </a:cubicBezTo>
                      <a:cubicBezTo>
                        <a:pt x="105" y="32"/>
                        <a:pt x="112" y="35"/>
                        <a:pt x="116" y="41"/>
                      </a:cubicBezTo>
                      <a:cubicBezTo>
                        <a:pt x="119" y="46"/>
                        <a:pt x="122" y="59"/>
                        <a:pt x="122" y="59"/>
                      </a:cubicBezTo>
                      <a:cubicBezTo>
                        <a:pt x="118" y="83"/>
                        <a:pt x="123" y="87"/>
                        <a:pt x="98" y="83"/>
                      </a:cubicBezTo>
                      <a:cubicBezTo>
                        <a:pt x="87" y="66"/>
                        <a:pt x="79" y="57"/>
                        <a:pt x="59" y="50"/>
                      </a:cubicBezTo>
                      <a:cubicBezTo>
                        <a:pt x="33" y="52"/>
                        <a:pt x="24" y="49"/>
                        <a:pt x="5" y="62"/>
                      </a:cubicBezTo>
                      <a:cubicBezTo>
                        <a:pt x="0" y="76"/>
                        <a:pt x="5" y="77"/>
                        <a:pt x="11" y="89"/>
                      </a:cubicBezTo>
                      <a:cubicBezTo>
                        <a:pt x="14" y="95"/>
                        <a:pt x="17" y="107"/>
                        <a:pt x="17" y="107"/>
                      </a:cubicBezTo>
                      <a:cubicBezTo>
                        <a:pt x="5" y="144"/>
                        <a:pt x="23" y="137"/>
                        <a:pt x="62" y="140"/>
                      </a:cubicBezTo>
                      <a:cubicBezTo>
                        <a:pt x="73" y="143"/>
                        <a:pt x="84" y="146"/>
                        <a:pt x="95" y="149"/>
                      </a:cubicBezTo>
                      <a:cubicBezTo>
                        <a:pt x="122" y="167"/>
                        <a:pt x="128" y="186"/>
                        <a:pt x="161" y="197"/>
                      </a:cubicBezTo>
                      <a:cubicBezTo>
                        <a:pt x="167" y="214"/>
                        <a:pt x="173" y="238"/>
                        <a:pt x="188" y="248"/>
                      </a:cubicBezTo>
                      <a:cubicBezTo>
                        <a:pt x="218" y="244"/>
                        <a:pt x="207" y="243"/>
                        <a:pt x="227" y="230"/>
                      </a:cubicBezTo>
                      <a:cubicBezTo>
                        <a:pt x="232" y="215"/>
                        <a:pt x="226" y="225"/>
                        <a:pt x="239" y="218"/>
                      </a:cubicBezTo>
                      <a:cubicBezTo>
                        <a:pt x="245" y="214"/>
                        <a:pt x="257" y="206"/>
                        <a:pt x="257" y="206"/>
                      </a:cubicBezTo>
                      <a:cubicBezTo>
                        <a:pt x="258" y="203"/>
                        <a:pt x="263" y="183"/>
                        <a:pt x="269" y="179"/>
                      </a:cubicBezTo>
                      <a:cubicBezTo>
                        <a:pt x="274" y="176"/>
                        <a:pt x="281" y="175"/>
                        <a:pt x="287" y="173"/>
                      </a:cubicBezTo>
                      <a:cubicBezTo>
                        <a:pt x="290" y="172"/>
                        <a:pt x="296" y="170"/>
                        <a:pt x="296" y="170"/>
                      </a:cubicBezTo>
                      <a:cubicBezTo>
                        <a:pt x="293" y="140"/>
                        <a:pt x="294" y="120"/>
                        <a:pt x="263" y="110"/>
                      </a:cubicBezTo>
                      <a:cubicBezTo>
                        <a:pt x="242" y="114"/>
                        <a:pt x="253" y="111"/>
                        <a:pt x="230" y="119"/>
                      </a:cubicBezTo>
                      <a:cubicBezTo>
                        <a:pt x="227" y="120"/>
                        <a:pt x="221" y="122"/>
                        <a:pt x="221" y="122"/>
                      </a:cubicBezTo>
                      <a:cubicBezTo>
                        <a:pt x="209" y="118"/>
                        <a:pt x="206" y="124"/>
                        <a:pt x="194" y="128"/>
                      </a:cubicBezTo>
                      <a:cubicBezTo>
                        <a:pt x="188" y="126"/>
                        <a:pt x="182" y="124"/>
                        <a:pt x="176" y="122"/>
                      </a:cubicBezTo>
                      <a:cubicBezTo>
                        <a:pt x="173" y="121"/>
                        <a:pt x="174" y="116"/>
                        <a:pt x="173" y="113"/>
                      </a:cubicBezTo>
                      <a:cubicBezTo>
                        <a:pt x="168" y="102"/>
                        <a:pt x="168" y="104"/>
                        <a:pt x="158" y="101"/>
                      </a:cubicBezTo>
                      <a:cubicBezTo>
                        <a:pt x="151" y="79"/>
                        <a:pt x="151" y="81"/>
                        <a:pt x="167" y="65"/>
                      </a:cubicBezTo>
                      <a:cubicBezTo>
                        <a:pt x="174" y="45"/>
                        <a:pt x="178" y="29"/>
                        <a:pt x="167" y="8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56" name="Freeform 106"/>
                <p:cNvSpPr>
                  <a:spLocks/>
                </p:cNvSpPr>
                <p:nvPr/>
              </p:nvSpPr>
              <p:spPr bwMode="gray">
                <a:xfrm>
                  <a:off x="729" y="1734"/>
                  <a:ext cx="387" cy="432"/>
                </a:xfrm>
                <a:custGeom>
                  <a:avLst/>
                  <a:gdLst>
                    <a:gd name="T0" fmla="*/ 93 w 387"/>
                    <a:gd name="T1" fmla="*/ 243 h 432"/>
                    <a:gd name="T2" fmla="*/ 27 w 387"/>
                    <a:gd name="T3" fmla="*/ 246 h 432"/>
                    <a:gd name="T4" fmla="*/ 0 w 387"/>
                    <a:gd name="T5" fmla="*/ 255 h 432"/>
                    <a:gd name="T6" fmla="*/ 60 w 387"/>
                    <a:gd name="T7" fmla="*/ 270 h 432"/>
                    <a:gd name="T8" fmla="*/ 54 w 387"/>
                    <a:gd name="T9" fmla="*/ 354 h 432"/>
                    <a:gd name="T10" fmla="*/ 81 w 387"/>
                    <a:gd name="T11" fmla="*/ 360 h 432"/>
                    <a:gd name="T12" fmla="*/ 117 w 387"/>
                    <a:gd name="T13" fmla="*/ 378 h 432"/>
                    <a:gd name="T14" fmla="*/ 153 w 387"/>
                    <a:gd name="T15" fmla="*/ 333 h 432"/>
                    <a:gd name="T16" fmla="*/ 165 w 387"/>
                    <a:gd name="T17" fmla="*/ 318 h 432"/>
                    <a:gd name="T18" fmla="*/ 168 w 387"/>
                    <a:gd name="T19" fmla="*/ 333 h 432"/>
                    <a:gd name="T20" fmla="*/ 177 w 387"/>
                    <a:gd name="T21" fmla="*/ 336 h 432"/>
                    <a:gd name="T22" fmla="*/ 180 w 387"/>
                    <a:gd name="T23" fmla="*/ 345 h 432"/>
                    <a:gd name="T24" fmla="*/ 195 w 387"/>
                    <a:gd name="T25" fmla="*/ 303 h 432"/>
                    <a:gd name="T26" fmla="*/ 216 w 387"/>
                    <a:gd name="T27" fmla="*/ 321 h 432"/>
                    <a:gd name="T28" fmla="*/ 213 w 387"/>
                    <a:gd name="T29" fmla="*/ 351 h 432"/>
                    <a:gd name="T30" fmla="*/ 195 w 387"/>
                    <a:gd name="T31" fmla="*/ 363 h 432"/>
                    <a:gd name="T32" fmla="*/ 192 w 387"/>
                    <a:gd name="T33" fmla="*/ 372 h 432"/>
                    <a:gd name="T34" fmla="*/ 186 w 387"/>
                    <a:gd name="T35" fmla="*/ 381 h 432"/>
                    <a:gd name="T36" fmla="*/ 180 w 387"/>
                    <a:gd name="T37" fmla="*/ 399 h 432"/>
                    <a:gd name="T38" fmla="*/ 219 w 387"/>
                    <a:gd name="T39" fmla="*/ 426 h 432"/>
                    <a:gd name="T40" fmla="*/ 234 w 387"/>
                    <a:gd name="T41" fmla="*/ 402 h 432"/>
                    <a:gd name="T42" fmla="*/ 252 w 387"/>
                    <a:gd name="T43" fmla="*/ 390 h 432"/>
                    <a:gd name="T44" fmla="*/ 285 w 387"/>
                    <a:gd name="T45" fmla="*/ 303 h 432"/>
                    <a:gd name="T46" fmla="*/ 309 w 387"/>
                    <a:gd name="T47" fmla="*/ 300 h 432"/>
                    <a:gd name="T48" fmla="*/ 294 w 387"/>
                    <a:gd name="T49" fmla="*/ 246 h 432"/>
                    <a:gd name="T50" fmla="*/ 294 w 387"/>
                    <a:gd name="T51" fmla="*/ 219 h 432"/>
                    <a:gd name="T52" fmla="*/ 312 w 387"/>
                    <a:gd name="T53" fmla="*/ 207 h 432"/>
                    <a:gd name="T54" fmla="*/ 351 w 387"/>
                    <a:gd name="T55" fmla="*/ 168 h 432"/>
                    <a:gd name="T56" fmla="*/ 363 w 387"/>
                    <a:gd name="T57" fmla="*/ 150 h 432"/>
                    <a:gd name="T58" fmla="*/ 324 w 387"/>
                    <a:gd name="T59" fmla="*/ 66 h 432"/>
                    <a:gd name="T60" fmla="*/ 309 w 387"/>
                    <a:gd name="T61" fmla="*/ 12 h 432"/>
                    <a:gd name="T62" fmla="*/ 291 w 387"/>
                    <a:gd name="T63" fmla="*/ 0 h 432"/>
                    <a:gd name="T64" fmla="*/ 267 w 387"/>
                    <a:gd name="T65" fmla="*/ 36 h 432"/>
                    <a:gd name="T66" fmla="*/ 258 w 387"/>
                    <a:gd name="T67" fmla="*/ 54 h 432"/>
                    <a:gd name="T68" fmla="*/ 210 w 387"/>
                    <a:gd name="T69" fmla="*/ 75 h 432"/>
                    <a:gd name="T70" fmla="*/ 177 w 387"/>
                    <a:gd name="T71" fmla="*/ 108 h 432"/>
                    <a:gd name="T72" fmla="*/ 171 w 387"/>
                    <a:gd name="T73" fmla="*/ 144 h 432"/>
                    <a:gd name="T74" fmla="*/ 153 w 387"/>
                    <a:gd name="T75" fmla="*/ 156 h 432"/>
                    <a:gd name="T76" fmla="*/ 135 w 387"/>
                    <a:gd name="T77" fmla="*/ 192 h 432"/>
                    <a:gd name="T78" fmla="*/ 123 w 387"/>
                    <a:gd name="T79" fmla="*/ 225 h 432"/>
                    <a:gd name="T80" fmla="*/ 93 w 387"/>
                    <a:gd name="T81" fmla="*/ 243 h 432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0" t="0" r="r" b="b"/>
                  <a:pathLst>
                    <a:path w="387" h="432">
                      <a:moveTo>
                        <a:pt x="93" y="243"/>
                      </a:moveTo>
                      <a:cubicBezTo>
                        <a:pt x="71" y="244"/>
                        <a:pt x="49" y="244"/>
                        <a:pt x="27" y="246"/>
                      </a:cubicBezTo>
                      <a:cubicBezTo>
                        <a:pt x="18" y="247"/>
                        <a:pt x="0" y="255"/>
                        <a:pt x="0" y="255"/>
                      </a:cubicBezTo>
                      <a:cubicBezTo>
                        <a:pt x="8" y="280"/>
                        <a:pt x="38" y="263"/>
                        <a:pt x="60" y="270"/>
                      </a:cubicBezTo>
                      <a:cubicBezTo>
                        <a:pt x="69" y="298"/>
                        <a:pt x="61" y="327"/>
                        <a:pt x="54" y="354"/>
                      </a:cubicBezTo>
                      <a:cubicBezTo>
                        <a:pt x="59" y="377"/>
                        <a:pt x="61" y="364"/>
                        <a:pt x="81" y="360"/>
                      </a:cubicBezTo>
                      <a:cubicBezTo>
                        <a:pt x="101" y="363"/>
                        <a:pt x="102" y="368"/>
                        <a:pt x="117" y="378"/>
                      </a:cubicBezTo>
                      <a:cubicBezTo>
                        <a:pt x="142" y="372"/>
                        <a:pt x="134" y="346"/>
                        <a:pt x="153" y="333"/>
                      </a:cubicBezTo>
                      <a:cubicBezTo>
                        <a:pt x="153" y="332"/>
                        <a:pt x="158" y="313"/>
                        <a:pt x="165" y="318"/>
                      </a:cubicBezTo>
                      <a:cubicBezTo>
                        <a:pt x="169" y="321"/>
                        <a:pt x="165" y="329"/>
                        <a:pt x="168" y="333"/>
                      </a:cubicBezTo>
                      <a:cubicBezTo>
                        <a:pt x="170" y="336"/>
                        <a:pt x="174" y="335"/>
                        <a:pt x="177" y="336"/>
                      </a:cubicBezTo>
                      <a:cubicBezTo>
                        <a:pt x="178" y="339"/>
                        <a:pt x="177" y="344"/>
                        <a:pt x="180" y="345"/>
                      </a:cubicBezTo>
                      <a:cubicBezTo>
                        <a:pt x="194" y="349"/>
                        <a:pt x="193" y="311"/>
                        <a:pt x="195" y="303"/>
                      </a:cubicBezTo>
                      <a:cubicBezTo>
                        <a:pt x="207" y="307"/>
                        <a:pt x="212" y="309"/>
                        <a:pt x="216" y="321"/>
                      </a:cubicBezTo>
                      <a:cubicBezTo>
                        <a:pt x="215" y="331"/>
                        <a:pt x="217" y="342"/>
                        <a:pt x="213" y="351"/>
                      </a:cubicBezTo>
                      <a:cubicBezTo>
                        <a:pt x="210" y="357"/>
                        <a:pt x="195" y="363"/>
                        <a:pt x="195" y="363"/>
                      </a:cubicBezTo>
                      <a:cubicBezTo>
                        <a:pt x="194" y="366"/>
                        <a:pt x="193" y="369"/>
                        <a:pt x="192" y="372"/>
                      </a:cubicBezTo>
                      <a:cubicBezTo>
                        <a:pt x="190" y="375"/>
                        <a:pt x="187" y="378"/>
                        <a:pt x="186" y="381"/>
                      </a:cubicBezTo>
                      <a:cubicBezTo>
                        <a:pt x="183" y="387"/>
                        <a:pt x="180" y="399"/>
                        <a:pt x="180" y="399"/>
                      </a:cubicBezTo>
                      <a:cubicBezTo>
                        <a:pt x="185" y="432"/>
                        <a:pt x="183" y="430"/>
                        <a:pt x="219" y="426"/>
                      </a:cubicBezTo>
                      <a:cubicBezTo>
                        <a:pt x="233" y="416"/>
                        <a:pt x="227" y="423"/>
                        <a:pt x="234" y="402"/>
                      </a:cubicBezTo>
                      <a:cubicBezTo>
                        <a:pt x="236" y="395"/>
                        <a:pt x="252" y="390"/>
                        <a:pt x="252" y="390"/>
                      </a:cubicBezTo>
                      <a:cubicBezTo>
                        <a:pt x="258" y="372"/>
                        <a:pt x="257" y="311"/>
                        <a:pt x="285" y="303"/>
                      </a:cubicBezTo>
                      <a:cubicBezTo>
                        <a:pt x="293" y="301"/>
                        <a:pt x="301" y="301"/>
                        <a:pt x="309" y="300"/>
                      </a:cubicBezTo>
                      <a:cubicBezTo>
                        <a:pt x="317" y="277"/>
                        <a:pt x="314" y="260"/>
                        <a:pt x="294" y="246"/>
                      </a:cubicBezTo>
                      <a:cubicBezTo>
                        <a:pt x="290" y="233"/>
                        <a:pt x="283" y="229"/>
                        <a:pt x="294" y="219"/>
                      </a:cubicBezTo>
                      <a:cubicBezTo>
                        <a:pt x="299" y="214"/>
                        <a:pt x="312" y="207"/>
                        <a:pt x="312" y="207"/>
                      </a:cubicBezTo>
                      <a:cubicBezTo>
                        <a:pt x="316" y="194"/>
                        <a:pt x="341" y="178"/>
                        <a:pt x="351" y="168"/>
                      </a:cubicBezTo>
                      <a:cubicBezTo>
                        <a:pt x="356" y="163"/>
                        <a:pt x="363" y="150"/>
                        <a:pt x="363" y="150"/>
                      </a:cubicBezTo>
                      <a:cubicBezTo>
                        <a:pt x="382" y="72"/>
                        <a:pt x="387" y="71"/>
                        <a:pt x="324" y="66"/>
                      </a:cubicBezTo>
                      <a:cubicBezTo>
                        <a:pt x="321" y="57"/>
                        <a:pt x="315" y="16"/>
                        <a:pt x="309" y="12"/>
                      </a:cubicBezTo>
                      <a:cubicBezTo>
                        <a:pt x="303" y="8"/>
                        <a:pt x="291" y="0"/>
                        <a:pt x="291" y="0"/>
                      </a:cubicBezTo>
                      <a:cubicBezTo>
                        <a:pt x="283" y="12"/>
                        <a:pt x="275" y="24"/>
                        <a:pt x="267" y="36"/>
                      </a:cubicBezTo>
                      <a:cubicBezTo>
                        <a:pt x="263" y="43"/>
                        <a:pt x="266" y="49"/>
                        <a:pt x="258" y="54"/>
                      </a:cubicBezTo>
                      <a:cubicBezTo>
                        <a:pt x="244" y="63"/>
                        <a:pt x="225" y="67"/>
                        <a:pt x="210" y="75"/>
                      </a:cubicBezTo>
                      <a:cubicBezTo>
                        <a:pt x="196" y="83"/>
                        <a:pt x="188" y="97"/>
                        <a:pt x="177" y="108"/>
                      </a:cubicBezTo>
                      <a:cubicBezTo>
                        <a:pt x="176" y="120"/>
                        <a:pt x="180" y="135"/>
                        <a:pt x="171" y="144"/>
                      </a:cubicBezTo>
                      <a:cubicBezTo>
                        <a:pt x="166" y="149"/>
                        <a:pt x="153" y="156"/>
                        <a:pt x="153" y="156"/>
                      </a:cubicBezTo>
                      <a:cubicBezTo>
                        <a:pt x="137" y="179"/>
                        <a:pt x="143" y="167"/>
                        <a:pt x="135" y="192"/>
                      </a:cubicBezTo>
                      <a:cubicBezTo>
                        <a:pt x="132" y="200"/>
                        <a:pt x="132" y="219"/>
                        <a:pt x="123" y="225"/>
                      </a:cubicBezTo>
                      <a:cubicBezTo>
                        <a:pt x="117" y="229"/>
                        <a:pt x="79" y="236"/>
                        <a:pt x="93" y="243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57" name="Freeform 107"/>
                <p:cNvSpPr>
                  <a:spLocks/>
                </p:cNvSpPr>
                <p:nvPr/>
              </p:nvSpPr>
              <p:spPr bwMode="gray">
                <a:xfrm>
                  <a:off x="1020" y="1609"/>
                  <a:ext cx="297" cy="365"/>
                </a:xfrm>
                <a:custGeom>
                  <a:avLst/>
                  <a:gdLst>
                    <a:gd name="T0" fmla="*/ 189 w 297"/>
                    <a:gd name="T1" fmla="*/ 11 h 365"/>
                    <a:gd name="T2" fmla="*/ 132 w 297"/>
                    <a:gd name="T3" fmla="*/ 14 h 365"/>
                    <a:gd name="T4" fmla="*/ 105 w 297"/>
                    <a:gd name="T5" fmla="*/ 26 h 365"/>
                    <a:gd name="T6" fmla="*/ 78 w 297"/>
                    <a:gd name="T7" fmla="*/ 59 h 365"/>
                    <a:gd name="T8" fmla="*/ 60 w 297"/>
                    <a:gd name="T9" fmla="*/ 95 h 365"/>
                    <a:gd name="T10" fmla="*/ 42 w 297"/>
                    <a:gd name="T11" fmla="*/ 104 h 365"/>
                    <a:gd name="T12" fmla="*/ 24 w 297"/>
                    <a:gd name="T13" fmla="*/ 110 h 365"/>
                    <a:gd name="T14" fmla="*/ 18 w 297"/>
                    <a:gd name="T15" fmla="*/ 119 h 365"/>
                    <a:gd name="T16" fmla="*/ 0 w 297"/>
                    <a:gd name="T17" fmla="*/ 125 h 365"/>
                    <a:gd name="T18" fmla="*/ 18 w 297"/>
                    <a:gd name="T19" fmla="*/ 149 h 365"/>
                    <a:gd name="T20" fmla="*/ 33 w 297"/>
                    <a:gd name="T21" fmla="*/ 200 h 365"/>
                    <a:gd name="T22" fmla="*/ 69 w 297"/>
                    <a:gd name="T23" fmla="*/ 203 h 365"/>
                    <a:gd name="T24" fmla="*/ 81 w 297"/>
                    <a:gd name="T25" fmla="*/ 167 h 365"/>
                    <a:gd name="T26" fmla="*/ 102 w 297"/>
                    <a:gd name="T27" fmla="*/ 176 h 365"/>
                    <a:gd name="T28" fmla="*/ 111 w 297"/>
                    <a:gd name="T29" fmla="*/ 248 h 365"/>
                    <a:gd name="T30" fmla="*/ 132 w 297"/>
                    <a:gd name="T31" fmla="*/ 284 h 365"/>
                    <a:gd name="T32" fmla="*/ 138 w 297"/>
                    <a:gd name="T33" fmla="*/ 293 h 365"/>
                    <a:gd name="T34" fmla="*/ 153 w 297"/>
                    <a:gd name="T35" fmla="*/ 326 h 365"/>
                    <a:gd name="T36" fmla="*/ 177 w 297"/>
                    <a:gd name="T37" fmla="*/ 344 h 365"/>
                    <a:gd name="T38" fmla="*/ 192 w 297"/>
                    <a:gd name="T39" fmla="*/ 359 h 365"/>
                    <a:gd name="T40" fmla="*/ 210 w 297"/>
                    <a:gd name="T41" fmla="*/ 365 h 365"/>
                    <a:gd name="T42" fmla="*/ 267 w 297"/>
                    <a:gd name="T43" fmla="*/ 356 h 365"/>
                    <a:gd name="T44" fmla="*/ 270 w 297"/>
                    <a:gd name="T45" fmla="*/ 197 h 365"/>
                    <a:gd name="T46" fmla="*/ 234 w 297"/>
                    <a:gd name="T47" fmla="*/ 86 h 365"/>
                    <a:gd name="T48" fmla="*/ 219 w 297"/>
                    <a:gd name="T49" fmla="*/ 50 h 365"/>
                    <a:gd name="T50" fmla="*/ 246 w 297"/>
                    <a:gd name="T51" fmla="*/ 44 h 365"/>
                    <a:gd name="T52" fmla="*/ 210 w 297"/>
                    <a:gd name="T53" fmla="*/ 11 h 365"/>
                    <a:gd name="T54" fmla="*/ 189 w 297"/>
                    <a:gd name="T55" fmla="*/ 11 h 365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0" t="0" r="r" b="b"/>
                  <a:pathLst>
                    <a:path w="297" h="365">
                      <a:moveTo>
                        <a:pt x="189" y="11"/>
                      </a:moveTo>
                      <a:cubicBezTo>
                        <a:pt x="170" y="12"/>
                        <a:pt x="151" y="11"/>
                        <a:pt x="132" y="14"/>
                      </a:cubicBezTo>
                      <a:cubicBezTo>
                        <a:pt x="122" y="15"/>
                        <a:pt x="105" y="26"/>
                        <a:pt x="105" y="26"/>
                      </a:cubicBezTo>
                      <a:cubicBezTo>
                        <a:pt x="101" y="39"/>
                        <a:pt x="90" y="51"/>
                        <a:pt x="78" y="59"/>
                      </a:cubicBezTo>
                      <a:cubicBezTo>
                        <a:pt x="71" y="70"/>
                        <a:pt x="70" y="87"/>
                        <a:pt x="60" y="95"/>
                      </a:cubicBezTo>
                      <a:cubicBezTo>
                        <a:pt x="55" y="99"/>
                        <a:pt x="48" y="101"/>
                        <a:pt x="42" y="104"/>
                      </a:cubicBezTo>
                      <a:cubicBezTo>
                        <a:pt x="36" y="107"/>
                        <a:pt x="24" y="110"/>
                        <a:pt x="24" y="110"/>
                      </a:cubicBezTo>
                      <a:cubicBezTo>
                        <a:pt x="22" y="113"/>
                        <a:pt x="21" y="117"/>
                        <a:pt x="18" y="119"/>
                      </a:cubicBezTo>
                      <a:cubicBezTo>
                        <a:pt x="13" y="122"/>
                        <a:pt x="0" y="125"/>
                        <a:pt x="0" y="125"/>
                      </a:cubicBezTo>
                      <a:cubicBezTo>
                        <a:pt x="4" y="137"/>
                        <a:pt x="8" y="142"/>
                        <a:pt x="18" y="149"/>
                      </a:cubicBezTo>
                      <a:cubicBezTo>
                        <a:pt x="24" y="166"/>
                        <a:pt x="27" y="183"/>
                        <a:pt x="33" y="200"/>
                      </a:cubicBezTo>
                      <a:cubicBezTo>
                        <a:pt x="37" y="211"/>
                        <a:pt x="57" y="202"/>
                        <a:pt x="69" y="203"/>
                      </a:cubicBezTo>
                      <a:cubicBezTo>
                        <a:pt x="83" y="189"/>
                        <a:pt x="85" y="188"/>
                        <a:pt x="81" y="167"/>
                      </a:cubicBezTo>
                      <a:cubicBezTo>
                        <a:pt x="95" y="158"/>
                        <a:pt x="98" y="160"/>
                        <a:pt x="102" y="176"/>
                      </a:cubicBezTo>
                      <a:cubicBezTo>
                        <a:pt x="103" y="194"/>
                        <a:pt x="102" y="229"/>
                        <a:pt x="111" y="248"/>
                      </a:cubicBezTo>
                      <a:cubicBezTo>
                        <a:pt x="117" y="261"/>
                        <a:pt x="124" y="272"/>
                        <a:pt x="132" y="284"/>
                      </a:cubicBezTo>
                      <a:cubicBezTo>
                        <a:pt x="134" y="287"/>
                        <a:pt x="138" y="293"/>
                        <a:pt x="138" y="293"/>
                      </a:cubicBezTo>
                      <a:cubicBezTo>
                        <a:pt x="141" y="308"/>
                        <a:pt x="140" y="317"/>
                        <a:pt x="153" y="326"/>
                      </a:cubicBezTo>
                      <a:cubicBezTo>
                        <a:pt x="160" y="336"/>
                        <a:pt x="165" y="340"/>
                        <a:pt x="177" y="344"/>
                      </a:cubicBezTo>
                      <a:cubicBezTo>
                        <a:pt x="182" y="352"/>
                        <a:pt x="183" y="355"/>
                        <a:pt x="192" y="359"/>
                      </a:cubicBezTo>
                      <a:cubicBezTo>
                        <a:pt x="198" y="362"/>
                        <a:pt x="210" y="365"/>
                        <a:pt x="210" y="365"/>
                      </a:cubicBezTo>
                      <a:cubicBezTo>
                        <a:pt x="230" y="363"/>
                        <a:pt x="248" y="359"/>
                        <a:pt x="267" y="356"/>
                      </a:cubicBezTo>
                      <a:cubicBezTo>
                        <a:pt x="297" y="311"/>
                        <a:pt x="276" y="249"/>
                        <a:pt x="270" y="197"/>
                      </a:cubicBezTo>
                      <a:cubicBezTo>
                        <a:pt x="268" y="157"/>
                        <a:pt x="271" y="111"/>
                        <a:pt x="234" y="86"/>
                      </a:cubicBezTo>
                      <a:cubicBezTo>
                        <a:pt x="230" y="73"/>
                        <a:pt x="223" y="63"/>
                        <a:pt x="219" y="50"/>
                      </a:cubicBezTo>
                      <a:cubicBezTo>
                        <a:pt x="232" y="46"/>
                        <a:pt x="234" y="52"/>
                        <a:pt x="246" y="44"/>
                      </a:cubicBezTo>
                      <a:cubicBezTo>
                        <a:pt x="240" y="22"/>
                        <a:pt x="232" y="18"/>
                        <a:pt x="210" y="11"/>
                      </a:cubicBezTo>
                      <a:cubicBezTo>
                        <a:pt x="200" y="8"/>
                        <a:pt x="194" y="0"/>
                        <a:pt x="189" y="11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231" name="Group 108"/>
              <p:cNvGrpSpPr>
                <a:grpSpLocks/>
              </p:cNvGrpSpPr>
              <p:nvPr/>
            </p:nvGrpSpPr>
            <p:grpSpPr bwMode="auto">
              <a:xfrm>
                <a:off x="519113" y="4375150"/>
                <a:ext cx="942975" cy="1052513"/>
                <a:chOff x="123" y="2837"/>
                <a:chExt cx="618" cy="690"/>
              </a:xfrm>
              <a:grpFill/>
            </p:grpSpPr>
            <p:sp>
              <p:nvSpPr>
                <p:cNvPr id="232" name="Freeform 109"/>
                <p:cNvSpPr>
                  <a:spLocks/>
                </p:cNvSpPr>
                <p:nvPr/>
              </p:nvSpPr>
              <p:spPr bwMode="gray">
                <a:xfrm>
                  <a:off x="451" y="2837"/>
                  <a:ext cx="290" cy="250"/>
                </a:xfrm>
                <a:custGeom>
                  <a:avLst/>
                  <a:gdLst>
                    <a:gd name="T0" fmla="*/ 98 w 290"/>
                    <a:gd name="T1" fmla="*/ 0 h 250"/>
                    <a:gd name="T2" fmla="*/ 125 w 290"/>
                    <a:gd name="T3" fmla="*/ 4 h 250"/>
                    <a:gd name="T4" fmla="*/ 151 w 290"/>
                    <a:gd name="T5" fmla="*/ 33 h 250"/>
                    <a:gd name="T6" fmla="*/ 167 w 290"/>
                    <a:gd name="T7" fmla="*/ 30 h 250"/>
                    <a:gd name="T8" fmla="*/ 178 w 290"/>
                    <a:gd name="T9" fmla="*/ 48 h 250"/>
                    <a:gd name="T10" fmla="*/ 205 w 290"/>
                    <a:gd name="T11" fmla="*/ 58 h 250"/>
                    <a:gd name="T12" fmla="*/ 217 w 290"/>
                    <a:gd name="T13" fmla="*/ 67 h 250"/>
                    <a:gd name="T14" fmla="*/ 226 w 290"/>
                    <a:gd name="T15" fmla="*/ 79 h 250"/>
                    <a:gd name="T16" fmla="*/ 241 w 290"/>
                    <a:gd name="T17" fmla="*/ 106 h 250"/>
                    <a:gd name="T18" fmla="*/ 232 w 290"/>
                    <a:gd name="T19" fmla="*/ 126 h 250"/>
                    <a:gd name="T20" fmla="*/ 253 w 290"/>
                    <a:gd name="T21" fmla="*/ 138 h 250"/>
                    <a:gd name="T22" fmla="*/ 272 w 290"/>
                    <a:gd name="T23" fmla="*/ 157 h 250"/>
                    <a:gd name="T24" fmla="*/ 286 w 290"/>
                    <a:gd name="T25" fmla="*/ 172 h 250"/>
                    <a:gd name="T26" fmla="*/ 277 w 290"/>
                    <a:gd name="T27" fmla="*/ 190 h 250"/>
                    <a:gd name="T28" fmla="*/ 257 w 290"/>
                    <a:gd name="T29" fmla="*/ 198 h 250"/>
                    <a:gd name="T30" fmla="*/ 245 w 290"/>
                    <a:gd name="T31" fmla="*/ 208 h 250"/>
                    <a:gd name="T32" fmla="*/ 236 w 290"/>
                    <a:gd name="T33" fmla="*/ 220 h 250"/>
                    <a:gd name="T34" fmla="*/ 227 w 290"/>
                    <a:gd name="T35" fmla="*/ 240 h 250"/>
                    <a:gd name="T36" fmla="*/ 203 w 290"/>
                    <a:gd name="T37" fmla="*/ 250 h 250"/>
                    <a:gd name="T38" fmla="*/ 184 w 290"/>
                    <a:gd name="T39" fmla="*/ 238 h 250"/>
                    <a:gd name="T40" fmla="*/ 149 w 290"/>
                    <a:gd name="T41" fmla="*/ 234 h 250"/>
                    <a:gd name="T42" fmla="*/ 23 w 290"/>
                    <a:gd name="T43" fmla="*/ 229 h 250"/>
                    <a:gd name="T44" fmla="*/ 11 w 290"/>
                    <a:gd name="T45" fmla="*/ 219 h 250"/>
                    <a:gd name="T46" fmla="*/ 11 w 290"/>
                    <a:gd name="T47" fmla="*/ 205 h 250"/>
                    <a:gd name="T48" fmla="*/ 2 w 290"/>
                    <a:gd name="T49" fmla="*/ 174 h 250"/>
                    <a:gd name="T50" fmla="*/ 7 w 290"/>
                    <a:gd name="T51" fmla="*/ 160 h 250"/>
                    <a:gd name="T52" fmla="*/ 43 w 290"/>
                    <a:gd name="T53" fmla="*/ 153 h 250"/>
                    <a:gd name="T54" fmla="*/ 58 w 290"/>
                    <a:gd name="T55" fmla="*/ 139 h 250"/>
                    <a:gd name="T56" fmla="*/ 61 w 290"/>
                    <a:gd name="T57" fmla="*/ 100 h 250"/>
                    <a:gd name="T58" fmla="*/ 67 w 290"/>
                    <a:gd name="T59" fmla="*/ 85 h 250"/>
                    <a:gd name="T60" fmla="*/ 62 w 290"/>
                    <a:gd name="T61" fmla="*/ 64 h 250"/>
                    <a:gd name="T62" fmla="*/ 76 w 290"/>
                    <a:gd name="T63" fmla="*/ 40 h 250"/>
                    <a:gd name="T64" fmla="*/ 85 w 290"/>
                    <a:gd name="T65" fmla="*/ 9 h 250"/>
                    <a:gd name="T66" fmla="*/ 98 w 290"/>
                    <a:gd name="T67" fmla="*/ 0 h 25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290" h="250">
                      <a:moveTo>
                        <a:pt x="98" y="0"/>
                      </a:moveTo>
                      <a:cubicBezTo>
                        <a:pt x="107" y="1"/>
                        <a:pt x="116" y="3"/>
                        <a:pt x="125" y="4"/>
                      </a:cubicBezTo>
                      <a:cubicBezTo>
                        <a:pt x="134" y="8"/>
                        <a:pt x="143" y="25"/>
                        <a:pt x="151" y="33"/>
                      </a:cubicBezTo>
                      <a:cubicBezTo>
                        <a:pt x="159" y="30"/>
                        <a:pt x="159" y="27"/>
                        <a:pt x="167" y="30"/>
                      </a:cubicBezTo>
                      <a:cubicBezTo>
                        <a:pt x="170" y="37"/>
                        <a:pt x="172" y="44"/>
                        <a:pt x="178" y="48"/>
                      </a:cubicBezTo>
                      <a:cubicBezTo>
                        <a:pt x="185" y="57"/>
                        <a:pt x="193" y="57"/>
                        <a:pt x="205" y="58"/>
                      </a:cubicBezTo>
                      <a:cubicBezTo>
                        <a:pt x="210" y="60"/>
                        <a:pt x="212" y="64"/>
                        <a:pt x="217" y="67"/>
                      </a:cubicBezTo>
                      <a:cubicBezTo>
                        <a:pt x="218" y="74"/>
                        <a:pt x="220" y="75"/>
                        <a:pt x="226" y="79"/>
                      </a:cubicBezTo>
                      <a:cubicBezTo>
                        <a:pt x="228" y="88"/>
                        <a:pt x="236" y="97"/>
                        <a:pt x="241" y="106"/>
                      </a:cubicBezTo>
                      <a:cubicBezTo>
                        <a:pt x="232" y="111"/>
                        <a:pt x="233" y="115"/>
                        <a:pt x="232" y="126"/>
                      </a:cubicBezTo>
                      <a:cubicBezTo>
                        <a:pt x="235" y="142"/>
                        <a:pt x="256" y="122"/>
                        <a:pt x="253" y="138"/>
                      </a:cubicBezTo>
                      <a:cubicBezTo>
                        <a:pt x="262" y="149"/>
                        <a:pt x="253" y="155"/>
                        <a:pt x="272" y="157"/>
                      </a:cubicBezTo>
                      <a:cubicBezTo>
                        <a:pt x="279" y="161"/>
                        <a:pt x="282" y="165"/>
                        <a:pt x="286" y="172"/>
                      </a:cubicBezTo>
                      <a:cubicBezTo>
                        <a:pt x="288" y="182"/>
                        <a:pt x="290" y="188"/>
                        <a:pt x="277" y="190"/>
                      </a:cubicBezTo>
                      <a:cubicBezTo>
                        <a:pt x="270" y="193"/>
                        <a:pt x="264" y="194"/>
                        <a:pt x="257" y="198"/>
                      </a:cubicBezTo>
                      <a:cubicBezTo>
                        <a:pt x="256" y="206"/>
                        <a:pt x="253" y="207"/>
                        <a:pt x="245" y="208"/>
                      </a:cubicBezTo>
                      <a:cubicBezTo>
                        <a:pt x="242" y="213"/>
                        <a:pt x="238" y="215"/>
                        <a:pt x="236" y="220"/>
                      </a:cubicBezTo>
                      <a:cubicBezTo>
                        <a:pt x="235" y="229"/>
                        <a:pt x="238" y="242"/>
                        <a:pt x="227" y="240"/>
                      </a:cubicBezTo>
                      <a:cubicBezTo>
                        <a:pt x="218" y="241"/>
                        <a:pt x="212" y="248"/>
                        <a:pt x="203" y="250"/>
                      </a:cubicBezTo>
                      <a:cubicBezTo>
                        <a:pt x="196" y="247"/>
                        <a:pt x="191" y="240"/>
                        <a:pt x="184" y="238"/>
                      </a:cubicBezTo>
                      <a:cubicBezTo>
                        <a:pt x="173" y="234"/>
                        <a:pt x="161" y="235"/>
                        <a:pt x="149" y="234"/>
                      </a:cubicBezTo>
                      <a:cubicBezTo>
                        <a:pt x="106" y="236"/>
                        <a:pt x="65" y="231"/>
                        <a:pt x="23" y="229"/>
                      </a:cubicBezTo>
                      <a:cubicBezTo>
                        <a:pt x="19" y="224"/>
                        <a:pt x="16" y="222"/>
                        <a:pt x="11" y="219"/>
                      </a:cubicBezTo>
                      <a:cubicBezTo>
                        <a:pt x="7" y="213"/>
                        <a:pt x="5" y="210"/>
                        <a:pt x="11" y="205"/>
                      </a:cubicBezTo>
                      <a:cubicBezTo>
                        <a:pt x="16" y="195"/>
                        <a:pt x="8" y="182"/>
                        <a:pt x="2" y="174"/>
                      </a:cubicBezTo>
                      <a:cubicBezTo>
                        <a:pt x="1" y="167"/>
                        <a:pt x="0" y="164"/>
                        <a:pt x="7" y="160"/>
                      </a:cubicBezTo>
                      <a:cubicBezTo>
                        <a:pt x="16" y="148"/>
                        <a:pt x="26" y="154"/>
                        <a:pt x="43" y="153"/>
                      </a:cubicBezTo>
                      <a:cubicBezTo>
                        <a:pt x="50" y="149"/>
                        <a:pt x="54" y="146"/>
                        <a:pt x="58" y="139"/>
                      </a:cubicBezTo>
                      <a:cubicBezTo>
                        <a:pt x="56" y="124"/>
                        <a:pt x="54" y="114"/>
                        <a:pt x="61" y="100"/>
                      </a:cubicBezTo>
                      <a:cubicBezTo>
                        <a:pt x="62" y="94"/>
                        <a:pt x="65" y="91"/>
                        <a:pt x="67" y="85"/>
                      </a:cubicBezTo>
                      <a:cubicBezTo>
                        <a:pt x="69" y="75"/>
                        <a:pt x="65" y="72"/>
                        <a:pt x="62" y="64"/>
                      </a:cubicBezTo>
                      <a:cubicBezTo>
                        <a:pt x="64" y="50"/>
                        <a:pt x="65" y="47"/>
                        <a:pt x="76" y="40"/>
                      </a:cubicBezTo>
                      <a:cubicBezTo>
                        <a:pt x="83" y="31"/>
                        <a:pt x="78" y="17"/>
                        <a:pt x="85" y="9"/>
                      </a:cubicBezTo>
                      <a:cubicBezTo>
                        <a:pt x="87" y="6"/>
                        <a:pt x="98" y="3"/>
                        <a:pt x="98" y="0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33" name="Freeform 110"/>
                <p:cNvSpPr>
                  <a:spLocks/>
                </p:cNvSpPr>
                <p:nvPr/>
              </p:nvSpPr>
              <p:spPr bwMode="gray">
                <a:xfrm>
                  <a:off x="535" y="3068"/>
                  <a:ext cx="138" cy="222"/>
                </a:xfrm>
                <a:custGeom>
                  <a:avLst/>
                  <a:gdLst>
                    <a:gd name="T0" fmla="*/ 112 w 138"/>
                    <a:gd name="T1" fmla="*/ 16 h 222"/>
                    <a:gd name="T2" fmla="*/ 95 w 138"/>
                    <a:gd name="T3" fmla="*/ 6 h 222"/>
                    <a:gd name="T4" fmla="*/ 55 w 138"/>
                    <a:gd name="T5" fmla="*/ 1 h 222"/>
                    <a:gd name="T6" fmla="*/ 40 w 138"/>
                    <a:gd name="T7" fmla="*/ 19 h 222"/>
                    <a:gd name="T8" fmla="*/ 35 w 138"/>
                    <a:gd name="T9" fmla="*/ 55 h 222"/>
                    <a:gd name="T10" fmla="*/ 40 w 138"/>
                    <a:gd name="T11" fmla="*/ 67 h 222"/>
                    <a:gd name="T12" fmla="*/ 44 w 138"/>
                    <a:gd name="T13" fmla="*/ 72 h 222"/>
                    <a:gd name="T14" fmla="*/ 49 w 138"/>
                    <a:gd name="T15" fmla="*/ 73 h 222"/>
                    <a:gd name="T16" fmla="*/ 52 w 138"/>
                    <a:gd name="T17" fmla="*/ 82 h 222"/>
                    <a:gd name="T18" fmla="*/ 58 w 138"/>
                    <a:gd name="T19" fmla="*/ 100 h 222"/>
                    <a:gd name="T20" fmla="*/ 25 w 138"/>
                    <a:gd name="T21" fmla="*/ 148 h 222"/>
                    <a:gd name="T22" fmla="*/ 14 w 138"/>
                    <a:gd name="T23" fmla="*/ 157 h 222"/>
                    <a:gd name="T24" fmla="*/ 25 w 138"/>
                    <a:gd name="T25" fmla="*/ 181 h 222"/>
                    <a:gd name="T26" fmla="*/ 4 w 138"/>
                    <a:gd name="T27" fmla="*/ 195 h 222"/>
                    <a:gd name="T28" fmla="*/ 13 w 138"/>
                    <a:gd name="T29" fmla="*/ 208 h 222"/>
                    <a:gd name="T30" fmla="*/ 28 w 138"/>
                    <a:gd name="T31" fmla="*/ 214 h 222"/>
                    <a:gd name="T32" fmla="*/ 67 w 138"/>
                    <a:gd name="T33" fmla="*/ 217 h 222"/>
                    <a:gd name="T34" fmla="*/ 80 w 138"/>
                    <a:gd name="T35" fmla="*/ 222 h 222"/>
                    <a:gd name="T36" fmla="*/ 109 w 138"/>
                    <a:gd name="T37" fmla="*/ 214 h 222"/>
                    <a:gd name="T38" fmla="*/ 109 w 138"/>
                    <a:gd name="T39" fmla="*/ 196 h 222"/>
                    <a:gd name="T40" fmla="*/ 128 w 138"/>
                    <a:gd name="T41" fmla="*/ 183 h 222"/>
                    <a:gd name="T42" fmla="*/ 134 w 138"/>
                    <a:gd name="T43" fmla="*/ 153 h 222"/>
                    <a:gd name="T44" fmla="*/ 113 w 138"/>
                    <a:gd name="T45" fmla="*/ 105 h 222"/>
                    <a:gd name="T46" fmla="*/ 97 w 138"/>
                    <a:gd name="T47" fmla="*/ 91 h 222"/>
                    <a:gd name="T48" fmla="*/ 106 w 138"/>
                    <a:gd name="T49" fmla="*/ 76 h 222"/>
                    <a:gd name="T50" fmla="*/ 104 w 138"/>
                    <a:gd name="T51" fmla="*/ 52 h 222"/>
                    <a:gd name="T52" fmla="*/ 95 w 138"/>
                    <a:gd name="T53" fmla="*/ 39 h 222"/>
                    <a:gd name="T54" fmla="*/ 106 w 138"/>
                    <a:gd name="T55" fmla="*/ 27 h 222"/>
                    <a:gd name="T56" fmla="*/ 112 w 138"/>
                    <a:gd name="T57" fmla="*/ 16 h 222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0" t="0" r="r" b="b"/>
                  <a:pathLst>
                    <a:path w="138" h="222">
                      <a:moveTo>
                        <a:pt x="112" y="16"/>
                      </a:moveTo>
                      <a:cubicBezTo>
                        <a:pt x="104" y="14"/>
                        <a:pt x="104" y="8"/>
                        <a:pt x="95" y="6"/>
                      </a:cubicBezTo>
                      <a:cubicBezTo>
                        <a:pt x="83" y="0"/>
                        <a:pt x="68" y="4"/>
                        <a:pt x="55" y="1"/>
                      </a:cubicBezTo>
                      <a:cubicBezTo>
                        <a:pt x="36" y="3"/>
                        <a:pt x="14" y="4"/>
                        <a:pt x="40" y="19"/>
                      </a:cubicBezTo>
                      <a:cubicBezTo>
                        <a:pt x="42" y="33"/>
                        <a:pt x="44" y="43"/>
                        <a:pt x="35" y="55"/>
                      </a:cubicBezTo>
                      <a:cubicBezTo>
                        <a:pt x="34" y="62"/>
                        <a:pt x="32" y="65"/>
                        <a:pt x="40" y="67"/>
                      </a:cubicBezTo>
                      <a:cubicBezTo>
                        <a:pt x="41" y="69"/>
                        <a:pt x="42" y="71"/>
                        <a:pt x="44" y="72"/>
                      </a:cubicBezTo>
                      <a:cubicBezTo>
                        <a:pt x="45" y="73"/>
                        <a:pt x="48" y="72"/>
                        <a:pt x="49" y="73"/>
                      </a:cubicBezTo>
                      <a:cubicBezTo>
                        <a:pt x="51" y="75"/>
                        <a:pt x="51" y="79"/>
                        <a:pt x="52" y="82"/>
                      </a:cubicBezTo>
                      <a:cubicBezTo>
                        <a:pt x="53" y="88"/>
                        <a:pt x="55" y="94"/>
                        <a:pt x="58" y="100"/>
                      </a:cubicBezTo>
                      <a:cubicBezTo>
                        <a:pt x="54" y="137"/>
                        <a:pt x="65" y="146"/>
                        <a:pt x="25" y="148"/>
                      </a:cubicBezTo>
                      <a:cubicBezTo>
                        <a:pt x="19" y="150"/>
                        <a:pt x="17" y="152"/>
                        <a:pt x="14" y="157"/>
                      </a:cubicBezTo>
                      <a:cubicBezTo>
                        <a:pt x="17" y="166"/>
                        <a:pt x="21" y="172"/>
                        <a:pt x="25" y="181"/>
                      </a:cubicBezTo>
                      <a:cubicBezTo>
                        <a:pt x="21" y="188"/>
                        <a:pt x="11" y="190"/>
                        <a:pt x="4" y="195"/>
                      </a:cubicBezTo>
                      <a:cubicBezTo>
                        <a:pt x="0" y="203"/>
                        <a:pt x="6" y="207"/>
                        <a:pt x="13" y="208"/>
                      </a:cubicBezTo>
                      <a:cubicBezTo>
                        <a:pt x="18" y="211"/>
                        <a:pt x="22" y="213"/>
                        <a:pt x="28" y="214"/>
                      </a:cubicBezTo>
                      <a:cubicBezTo>
                        <a:pt x="41" y="212"/>
                        <a:pt x="54" y="215"/>
                        <a:pt x="67" y="217"/>
                      </a:cubicBezTo>
                      <a:cubicBezTo>
                        <a:pt x="71" y="219"/>
                        <a:pt x="76" y="220"/>
                        <a:pt x="80" y="222"/>
                      </a:cubicBezTo>
                      <a:cubicBezTo>
                        <a:pt x="90" y="219"/>
                        <a:pt x="98" y="216"/>
                        <a:pt x="109" y="214"/>
                      </a:cubicBezTo>
                      <a:cubicBezTo>
                        <a:pt x="113" y="206"/>
                        <a:pt x="110" y="204"/>
                        <a:pt x="109" y="196"/>
                      </a:cubicBezTo>
                      <a:cubicBezTo>
                        <a:pt x="110" y="181"/>
                        <a:pt x="113" y="184"/>
                        <a:pt x="128" y="183"/>
                      </a:cubicBezTo>
                      <a:cubicBezTo>
                        <a:pt x="135" y="171"/>
                        <a:pt x="133" y="172"/>
                        <a:pt x="134" y="153"/>
                      </a:cubicBezTo>
                      <a:cubicBezTo>
                        <a:pt x="133" y="132"/>
                        <a:pt x="138" y="109"/>
                        <a:pt x="113" y="105"/>
                      </a:cubicBezTo>
                      <a:cubicBezTo>
                        <a:pt x="107" y="100"/>
                        <a:pt x="103" y="95"/>
                        <a:pt x="97" y="91"/>
                      </a:cubicBezTo>
                      <a:cubicBezTo>
                        <a:pt x="98" y="82"/>
                        <a:pt x="102" y="83"/>
                        <a:pt x="106" y="76"/>
                      </a:cubicBezTo>
                      <a:cubicBezTo>
                        <a:pt x="107" y="68"/>
                        <a:pt x="107" y="60"/>
                        <a:pt x="104" y="52"/>
                      </a:cubicBezTo>
                      <a:cubicBezTo>
                        <a:pt x="103" y="44"/>
                        <a:pt x="102" y="43"/>
                        <a:pt x="95" y="39"/>
                      </a:cubicBezTo>
                      <a:cubicBezTo>
                        <a:pt x="97" y="32"/>
                        <a:pt x="100" y="31"/>
                        <a:pt x="106" y="27"/>
                      </a:cubicBezTo>
                      <a:cubicBezTo>
                        <a:pt x="110" y="20"/>
                        <a:pt x="108" y="24"/>
                        <a:pt x="112" y="16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34" name="Freeform 111"/>
                <p:cNvSpPr>
                  <a:spLocks/>
                </p:cNvSpPr>
                <p:nvPr/>
              </p:nvSpPr>
              <p:spPr bwMode="gray">
                <a:xfrm>
                  <a:off x="327" y="3061"/>
                  <a:ext cx="273" cy="250"/>
                </a:xfrm>
                <a:custGeom>
                  <a:avLst/>
                  <a:gdLst>
                    <a:gd name="T0" fmla="*/ 170 w 273"/>
                    <a:gd name="T1" fmla="*/ 250 h 250"/>
                    <a:gd name="T2" fmla="*/ 188 w 273"/>
                    <a:gd name="T3" fmla="*/ 244 h 250"/>
                    <a:gd name="T4" fmla="*/ 209 w 273"/>
                    <a:gd name="T5" fmla="*/ 232 h 250"/>
                    <a:gd name="T6" fmla="*/ 230 w 273"/>
                    <a:gd name="T7" fmla="*/ 224 h 250"/>
                    <a:gd name="T8" fmla="*/ 219 w 273"/>
                    <a:gd name="T9" fmla="*/ 217 h 250"/>
                    <a:gd name="T10" fmla="*/ 228 w 273"/>
                    <a:gd name="T11" fmla="*/ 194 h 250"/>
                    <a:gd name="T12" fmla="*/ 228 w 273"/>
                    <a:gd name="T13" fmla="*/ 179 h 250"/>
                    <a:gd name="T14" fmla="*/ 230 w 273"/>
                    <a:gd name="T15" fmla="*/ 157 h 250"/>
                    <a:gd name="T16" fmla="*/ 251 w 273"/>
                    <a:gd name="T17" fmla="*/ 151 h 250"/>
                    <a:gd name="T18" fmla="*/ 267 w 273"/>
                    <a:gd name="T19" fmla="*/ 139 h 250"/>
                    <a:gd name="T20" fmla="*/ 267 w 273"/>
                    <a:gd name="T21" fmla="*/ 94 h 250"/>
                    <a:gd name="T22" fmla="*/ 249 w 273"/>
                    <a:gd name="T23" fmla="*/ 77 h 250"/>
                    <a:gd name="T24" fmla="*/ 248 w 273"/>
                    <a:gd name="T25" fmla="*/ 58 h 250"/>
                    <a:gd name="T26" fmla="*/ 168 w 273"/>
                    <a:gd name="T27" fmla="*/ 7 h 250"/>
                    <a:gd name="T28" fmla="*/ 146 w 273"/>
                    <a:gd name="T29" fmla="*/ 19 h 250"/>
                    <a:gd name="T30" fmla="*/ 179 w 273"/>
                    <a:gd name="T31" fmla="*/ 35 h 250"/>
                    <a:gd name="T32" fmla="*/ 165 w 273"/>
                    <a:gd name="T33" fmla="*/ 50 h 250"/>
                    <a:gd name="T34" fmla="*/ 123 w 273"/>
                    <a:gd name="T35" fmla="*/ 68 h 250"/>
                    <a:gd name="T36" fmla="*/ 108 w 273"/>
                    <a:gd name="T37" fmla="*/ 83 h 250"/>
                    <a:gd name="T38" fmla="*/ 87 w 273"/>
                    <a:gd name="T39" fmla="*/ 65 h 250"/>
                    <a:gd name="T40" fmla="*/ 63 w 273"/>
                    <a:gd name="T41" fmla="*/ 31 h 250"/>
                    <a:gd name="T42" fmla="*/ 47 w 273"/>
                    <a:gd name="T43" fmla="*/ 23 h 250"/>
                    <a:gd name="T44" fmla="*/ 35 w 273"/>
                    <a:gd name="T45" fmla="*/ 31 h 250"/>
                    <a:gd name="T46" fmla="*/ 18 w 273"/>
                    <a:gd name="T47" fmla="*/ 29 h 250"/>
                    <a:gd name="T48" fmla="*/ 41 w 273"/>
                    <a:gd name="T49" fmla="*/ 59 h 250"/>
                    <a:gd name="T50" fmla="*/ 66 w 273"/>
                    <a:gd name="T51" fmla="*/ 61 h 250"/>
                    <a:gd name="T52" fmla="*/ 78 w 273"/>
                    <a:gd name="T53" fmla="*/ 70 h 250"/>
                    <a:gd name="T54" fmla="*/ 83 w 273"/>
                    <a:gd name="T55" fmla="*/ 83 h 250"/>
                    <a:gd name="T56" fmla="*/ 96 w 273"/>
                    <a:gd name="T57" fmla="*/ 104 h 250"/>
                    <a:gd name="T58" fmla="*/ 99 w 273"/>
                    <a:gd name="T59" fmla="*/ 125 h 250"/>
                    <a:gd name="T60" fmla="*/ 107 w 273"/>
                    <a:gd name="T61" fmla="*/ 157 h 250"/>
                    <a:gd name="T62" fmla="*/ 125 w 273"/>
                    <a:gd name="T63" fmla="*/ 184 h 250"/>
                    <a:gd name="T64" fmla="*/ 129 w 273"/>
                    <a:gd name="T65" fmla="*/ 214 h 250"/>
                    <a:gd name="T66" fmla="*/ 168 w 273"/>
                    <a:gd name="T67" fmla="*/ 241 h 250"/>
                    <a:gd name="T68" fmla="*/ 170 w 273"/>
                    <a:gd name="T69" fmla="*/ 250 h 250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0" t="0" r="r" b="b"/>
                  <a:pathLst>
                    <a:path w="273" h="250">
                      <a:moveTo>
                        <a:pt x="170" y="250"/>
                      </a:moveTo>
                      <a:cubicBezTo>
                        <a:pt x="176" y="247"/>
                        <a:pt x="182" y="245"/>
                        <a:pt x="188" y="244"/>
                      </a:cubicBezTo>
                      <a:cubicBezTo>
                        <a:pt x="194" y="237"/>
                        <a:pt x="200" y="233"/>
                        <a:pt x="209" y="232"/>
                      </a:cubicBezTo>
                      <a:cubicBezTo>
                        <a:pt x="217" y="229"/>
                        <a:pt x="223" y="228"/>
                        <a:pt x="230" y="224"/>
                      </a:cubicBezTo>
                      <a:cubicBezTo>
                        <a:pt x="227" y="218"/>
                        <a:pt x="225" y="218"/>
                        <a:pt x="219" y="217"/>
                      </a:cubicBezTo>
                      <a:cubicBezTo>
                        <a:pt x="209" y="205"/>
                        <a:pt x="216" y="200"/>
                        <a:pt x="228" y="194"/>
                      </a:cubicBezTo>
                      <a:cubicBezTo>
                        <a:pt x="232" y="188"/>
                        <a:pt x="231" y="185"/>
                        <a:pt x="228" y="179"/>
                      </a:cubicBezTo>
                      <a:cubicBezTo>
                        <a:pt x="227" y="171"/>
                        <a:pt x="223" y="164"/>
                        <a:pt x="230" y="157"/>
                      </a:cubicBezTo>
                      <a:cubicBezTo>
                        <a:pt x="235" y="152"/>
                        <a:pt x="251" y="151"/>
                        <a:pt x="251" y="151"/>
                      </a:cubicBezTo>
                      <a:cubicBezTo>
                        <a:pt x="257" y="147"/>
                        <a:pt x="262" y="145"/>
                        <a:pt x="267" y="139"/>
                      </a:cubicBezTo>
                      <a:cubicBezTo>
                        <a:pt x="271" y="126"/>
                        <a:pt x="273" y="106"/>
                        <a:pt x="267" y="94"/>
                      </a:cubicBezTo>
                      <a:cubicBezTo>
                        <a:pt x="265" y="83"/>
                        <a:pt x="259" y="81"/>
                        <a:pt x="249" y="77"/>
                      </a:cubicBezTo>
                      <a:cubicBezTo>
                        <a:pt x="244" y="70"/>
                        <a:pt x="244" y="65"/>
                        <a:pt x="248" y="58"/>
                      </a:cubicBezTo>
                      <a:cubicBezTo>
                        <a:pt x="253" y="0"/>
                        <a:pt x="214" y="12"/>
                        <a:pt x="168" y="7"/>
                      </a:cubicBezTo>
                      <a:cubicBezTo>
                        <a:pt x="148" y="8"/>
                        <a:pt x="149" y="4"/>
                        <a:pt x="146" y="19"/>
                      </a:cubicBezTo>
                      <a:cubicBezTo>
                        <a:pt x="149" y="36"/>
                        <a:pt x="164" y="33"/>
                        <a:pt x="179" y="35"/>
                      </a:cubicBezTo>
                      <a:cubicBezTo>
                        <a:pt x="175" y="41"/>
                        <a:pt x="170" y="44"/>
                        <a:pt x="165" y="50"/>
                      </a:cubicBezTo>
                      <a:cubicBezTo>
                        <a:pt x="163" y="67"/>
                        <a:pt x="137" y="65"/>
                        <a:pt x="123" y="68"/>
                      </a:cubicBezTo>
                      <a:cubicBezTo>
                        <a:pt x="121" y="79"/>
                        <a:pt x="119" y="81"/>
                        <a:pt x="108" y="83"/>
                      </a:cubicBezTo>
                      <a:cubicBezTo>
                        <a:pt x="100" y="77"/>
                        <a:pt x="95" y="70"/>
                        <a:pt x="87" y="65"/>
                      </a:cubicBezTo>
                      <a:cubicBezTo>
                        <a:pt x="85" y="50"/>
                        <a:pt x="80" y="34"/>
                        <a:pt x="63" y="31"/>
                      </a:cubicBezTo>
                      <a:cubicBezTo>
                        <a:pt x="58" y="22"/>
                        <a:pt x="59" y="22"/>
                        <a:pt x="47" y="23"/>
                      </a:cubicBezTo>
                      <a:cubicBezTo>
                        <a:pt x="42" y="25"/>
                        <a:pt x="40" y="28"/>
                        <a:pt x="35" y="31"/>
                      </a:cubicBezTo>
                      <a:cubicBezTo>
                        <a:pt x="29" y="28"/>
                        <a:pt x="25" y="28"/>
                        <a:pt x="18" y="29"/>
                      </a:cubicBezTo>
                      <a:cubicBezTo>
                        <a:pt x="0" y="38"/>
                        <a:pt x="30" y="58"/>
                        <a:pt x="41" y="59"/>
                      </a:cubicBezTo>
                      <a:cubicBezTo>
                        <a:pt x="49" y="60"/>
                        <a:pt x="58" y="60"/>
                        <a:pt x="66" y="61"/>
                      </a:cubicBezTo>
                      <a:cubicBezTo>
                        <a:pt x="73" y="62"/>
                        <a:pt x="73" y="66"/>
                        <a:pt x="78" y="70"/>
                      </a:cubicBezTo>
                      <a:cubicBezTo>
                        <a:pt x="80" y="74"/>
                        <a:pt x="81" y="79"/>
                        <a:pt x="83" y="83"/>
                      </a:cubicBezTo>
                      <a:cubicBezTo>
                        <a:pt x="85" y="92"/>
                        <a:pt x="89" y="99"/>
                        <a:pt x="96" y="104"/>
                      </a:cubicBezTo>
                      <a:cubicBezTo>
                        <a:pt x="100" y="113"/>
                        <a:pt x="104" y="114"/>
                        <a:pt x="99" y="125"/>
                      </a:cubicBezTo>
                      <a:cubicBezTo>
                        <a:pt x="101" y="136"/>
                        <a:pt x="101" y="148"/>
                        <a:pt x="107" y="157"/>
                      </a:cubicBezTo>
                      <a:cubicBezTo>
                        <a:pt x="109" y="169"/>
                        <a:pt x="121" y="173"/>
                        <a:pt x="125" y="184"/>
                      </a:cubicBezTo>
                      <a:cubicBezTo>
                        <a:pt x="127" y="194"/>
                        <a:pt x="125" y="205"/>
                        <a:pt x="129" y="214"/>
                      </a:cubicBezTo>
                      <a:cubicBezTo>
                        <a:pt x="132" y="222"/>
                        <a:pt x="160" y="235"/>
                        <a:pt x="168" y="241"/>
                      </a:cubicBezTo>
                      <a:cubicBezTo>
                        <a:pt x="169" y="242"/>
                        <a:pt x="174" y="250"/>
                        <a:pt x="170" y="250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35" name="Freeform 112"/>
                <p:cNvSpPr>
                  <a:spLocks/>
                </p:cNvSpPr>
                <p:nvPr/>
              </p:nvSpPr>
              <p:spPr bwMode="gray">
                <a:xfrm>
                  <a:off x="254" y="2876"/>
                  <a:ext cx="267" cy="268"/>
                </a:xfrm>
                <a:custGeom>
                  <a:avLst/>
                  <a:gdLst>
                    <a:gd name="T0" fmla="*/ 199 w 267"/>
                    <a:gd name="T1" fmla="*/ 0 h 268"/>
                    <a:gd name="T2" fmla="*/ 213 w 267"/>
                    <a:gd name="T3" fmla="*/ 4 h 268"/>
                    <a:gd name="T4" fmla="*/ 237 w 267"/>
                    <a:gd name="T5" fmla="*/ 13 h 268"/>
                    <a:gd name="T6" fmla="*/ 247 w 267"/>
                    <a:gd name="T7" fmla="*/ 12 h 268"/>
                    <a:gd name="T8" fmla="*/ 252 w 267"/>
                    <a:gd name="T9" fmla="*/ 9 h 268"/>
                    <a:gd name="T10" fmla="*/ 267 w 267"/>
                    <a:gd name="T11" fmla="*/ 6 h 268"/>
                    <a:gd name="T12" fmla="*/ 259 w 267"/>
                    <a:gd name="T13" fmla="*/ 25 h 268"/>
                    <a:gd name="T14" fmla="*/ 267 w 267"/>
                    <a:gd name="T15" fmla="*/ 45 h 268"/>
                    <a:gd name="T16" fmla="*/ 253 w 267"/>
                    <a:gd name="T17" fmla="*/ 67 h 268"/>
                    <a:gd name="T18" fmla="*/ 256 w 267"/>
                    <a:gd name="T19" fmla="*/ 96 h 268"/>
                    <a:gd name="T20" fmla="*/ 222 w 267"/>
                    <a:gd name="T21" fmla="*/ 118 h 268"/>
                    <a:gd name="T22" fmla="*/ 199 w 267"/>
                    <a:gd name="T23" fmla="*/ 126 h 268"/>
                    <a:gd name="T24" fmla="*/ 207 w 267"/>
                    <a:gd name="T25" fmla="*/ 150 h 268"/>
                    <a:gd name="T26" fmla="*/ 205 w 267"/>
                    <a:gd name="T27" fmla="*/ 168 h 268"/>
                    <a:gd name="T28" fmla="*/ 216 w 267"/>
                    <a:gd name="T29" fmla="*/ 184 h 268"/>
                    <a:gd name="T30" fmla="*/ 217 w 267"/>
                    <a:gd name="T31" fmla="*/ 202 h 268"/>
                    <a:gd name="T32" fmla="*/ 228 w 267"/>
                    <a:gd name="T33" fmla="*/ 214 h 268"/>
                    <a:gd name="T34" fmla="*/ 247 w 267"/>
                    <a:gd name="T35" fmla="*/ 220 h 268"/>
                    <a:gd name="T36" fmla="*/ 232 w 267"/>
                    <a:gd name="T37" fmla="*/ 244 h 268"/>
                    <a:gd name="T38" fmla="*/ 217 w 267"/>
                    <a:gd name="T39" fmla="*/ 250 h 268"/>
                    <a:gd name="T40" fmla="*/ 201 w 267"/>
                    <a:gd name="T41" fmla="*/ 255 h 268"/>
                    <a:gd name="T42" fmla="*/ 187 w 267"/>
                    <a:gd name="T43" fmla="*/ 268 h 268"/>
                    <a:gd name="T44" fmla="*/ 166 w 267"/>
                    <a:gd name="T45" fmla="*/ 258 h 268"/>
                    <a:gd name="T46" fmla="*/ 157 w 267"/>
                    <a:gd name="T47" fmla="*/ 247 h 268"/>
                    <a:gd name="T48" fmla="*/ 151 w 267"/>
                    <a:gd name="T49" fmla="*/ 225 h 268"/>
                    <a:gd name="T50" fmla="*/ 127 w 267"/>
                    <a:gd name="T51" fmla="*/ 207 h 268"/>
                    <a:gd name="T52" fmla="*/ 115 w 267"/>
                    <a:gd name="T53" fmla="*/ 211 h 268"/>
                    <a:gd name="T54" fmla="*/ 73 w 267"/>
                    <a:gd name="T55" fmla="*/ 213 h 268"/>
                    <a:gd name="T56" fmla="*/ 61 w 267"/>
                    <a:gd name="T57" fmla="*/ 207 h 268"/>
                    <a:gd name="T58" fmla="*/ 58 w 267"/>
                    <a:gd name="T59" fmla="*/ 181 h 268"/>
                    <a:gd name="T60" fmla="*/ 42 w 267"/>
                    <a:gd name="T61" fmla="*/ 168 h 268"/>
                    <a:gd name="T62" fmla="*/ 52 w 267"/>
                    <a:gd name="T63" fmla="*/ 154 h 268"/>
                    <a:gd name="T64" fmla="*/ 46 w 267"/>
                    <a:gd name="T65" fmla="*/ 120 h 268"/>
                    <a:gd name="T66" fmla="*/ 19 w 267"/>
                    <a:gd name="T67" fmla="*/ 115 h 268"/>
                    <a:gd name="T68" fmla="*/ 57 w 267"/>
                    <a:gd name="T69" fmla="*/ 97 h 268"/>
                    <a:gd name="T70" fmla="*/ 21 w 267"/>
                    <a:gd name="T71" fmla="*/ 61 h 268"/>
                    <a:gd name="T72" fmla="*/ 27 w 267"/>
                    <a:gd name="T73" fmla="*/ 51 h 268"/>
                    <a:gd name="T74" fmla="*/ 39 w 267"/>
                    <a:gd name="T75" fmla="*/ 45 h 268"/>
                    <a:gd name="T76" fmla="*/ 57 w 267"/>
                    <a:gd name="T77" fmla="*/ 55 h 268"/>
                    <a:gd name="T78" fmla="*/ 76 w 267"/>
                    <a:gd name="T79" fmla="*/ 55 h 268"/>
                    <a:gd name="T80" fmla="*/ 96 w 267"/>
                    <a:gd name="T81" fmla="*/ 64 h 268"/>
                    <a:gd name="T82" fmla="*/ 109 w 267"/>
                    <a:gd name="T83" fmla="*/ 64 h 268"/>
                    <a:gd name="T84" fmla="*/ 126 w 267"/>
                    <a:gd name="T85" fmla="*/ 63 h 268"/>
                    <a:gd name="T86" fmla="*/ 133 w 267"/>
                    <a:gd name="T87" fmla="*/ 49 h 268"/>
                    <a:gd name="T88" fmla="*/ 129 w 267"/>
                    <a:gd name="T89" fmla="*/ 39 h 268"/>
                    <a:gd name="T90" fmla="*/ 150 w 267"/>
                    <a:gd name="T91" fmla="*/ 30 h 268"/>
                    <a:gd name="T92" fmla="*/ 180 w 267"/>
                    <a:gd name="T93" fmla="*/ 18 h 268"/>
                    <a:gd name="T94" fmla="*/ 198 w 267"/>
                    <a:gd name="T95" fmla="*/ 7 h 268"/>
                    <a:gd name="T96" fmla="*/ 199 w 267"/>
                    <a:gd name="T97" fmla="*/ 0 h 268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0" t="0" r="r" b="b"/>
                  <a:pathLst>
                    <a:path w="267" h="268">
                      <a:moveTo>
                        <a:pt x="199" y="0"/>
                      </a:moveTo>
                      <a:cubicBezTo>
                        <a:pt x="204" y="1"/>
                        <a:pt x="208" y="3"/>
                        <a:pt x="213" y="4"/>
                      </a:cubicBezTo>
                      <a:cubicBezTo>
                        <a:pt x="221" y="8"/>
                        <a:pt x="229" y="12"/>
                        <a:pt x="237" y="13"/>
                      </a:cubicBezTo>
                      <a:cubicBezTo>
                        <a:pt x="240" y="13"/>
                        <a:pt x="244" y="13"/>
                        <a:pt x="247" y="12"/>
                      </a:cubicBezTo>
                      <a:cubicBezTo>
                        <a:pt x="249" y="11"/>
                        <a:pt x="250" y="10"/>
                        <a:pt x="252" y="9"/>
                      </a:cubicBezTo>
                      <a:cubicBezTo>
                        <a:pt x="257" y="8"/>
                        <a:pt x="267" y="6"/>
                        <a:pt x="267" y="6"/>
                      </a:cubicBezTo>
                      <a:cubicBezTo>
                        <a:pt x="262" y="12"/>
                        <a:pt x="262" y="18"/>
                        <a:pt x="259" y="25"/>
                      </a:cubicBezTo>
                      <a:cubicBezTo>
                        <a:pt x="262" y="32"/>
                        <a:pt x="264" y="38"/>
                        <a:pt x="267" y="45"/>
                      </a:cubicBezTo>
                      <a:cubicBezTo>
                        <a:pt x="263" y="53"/>
                        <a:pt x="258" y="60"/>
                        <a:pt x="253" y="67"/>
                      </a:cubicBezTo>
                      <a:cubicBezTo>
                        <a:pt x="251" y="77"/>
                        <a:pt x="254" y="86"/>
                        <a:pt x="256" y="96"/>
                      </a:cubicBezTo>
                      <a:cubicBezTo>
                        <a:pt x="254" y="113"/>
                        <a:pt x="237" y="117"/>
                        <a:pt x="222" y="118"/>
                      </a:cubicBezTo>
                      <a:cubicBezTo>
                        <a:pt x="210" y="121"/>
                        <a:pt x="208" y="121"/>
                        <a:pt x="199" y="126"/>
                      </a:cubicBezTo>
                      <a:cubicBezTo>
                        <a:pt x="201" y="135"/>
                        <a:pt x="202" y="142"/>
                        <a:pt x="207" y="150"/>
                      </a:cubicBezTo>
                      <a:cubicBezTo>
                        <a:pt x="208" y="157"/>
                        <a:pt x="208" y="162"/>
                        <a:pt x="205" y="168"/>
                      </a:cubicBezTo>
                      <a:cubicBezTo>
                        <a:pt x="203" y="177"/>
                        <a:pt x="208" y="179"/>
                        <a:pt x="216" y="184"/>
                      </a:cubicBezTo>
                      <a:cubicBezTo>
                        <a:pt x="218" y="192"/>
                        <a:pt x="221" y="194"/>
                        <a:pt x="217" y="202"/>
                      </a:cubicBezTo>
                      <a:cubicBezTo>
                        <a:pt x="219" y="211"/>
                        <a:pt x="219" y="212"/>
                        <a:pt x="228" y="214"/>
                      </a:cubicBezTo>
                      <a:cubicBezTo>
                        <a:pt x="234" y="217"/>
                        <a:pt x="241" y="219"/>
                        <a:pt x="247" y="220"/>
                      </a:cubicBezTo>
                      <a:cubicBezTo>
                        <a:pt x="246" y="230"/>
                        <a:pt x="243" y="242"/>
                        <a:pt x="232" y="244"/>
                      </a:cubicBezTo>
                      <a:cubicBezTo>
                        <a:pt x="227" y="248"/>
                        <a:pt x="223" y="249"/>
                        <a:pt x="217" y="250"/>
                      </a:cubicBezTo>
                      <a:cubicBezTo>
                        <a:pt x="212" y="253"/>
                        <a:pt x="206" y="252"/>
                        <a:pt x="201" y="255"/>
                      </a:cubicBezTo>
                      <a:cubicBezTo>
                        <a:pt x="196" y="262"/>
                        <a:pt x="196" y="266"/>
                        <a:pt x="187" y="268"/>
                      </a:cubicBezTo>
                      <a:cubicBezTo>
                        <a:pt x="176" y="267"/>
                        <a:pt x="176" y="260"/>
                        <a:pt x="166" y="258"/>
                      </a:cubicBezTo>
                      <a:cubicBezTo>
                        <a:pt x="161" y="255"/>
                        <a:pt x="159" y="253"/>
                        <a:pt x="157" y="247"/>
                      </a:cubicBezTo>
                      <a:cubicBezTo>
                        <a:pt x="156" y="238"/>
                        <a:pt x="156" y="232"/>
                        <a:pt x="151" y="225"/>
                      </a:cubicBezTo>
                      <a:cubicBezTo>
                        <a:pt x="149" y="217"/>
                        <a:pt x="135" y="209"/>
                        <a:pt x="127" y="207"/>
                      </a:cubicBezTo>
                      <a:cubicBezTo>
                        <a:pt x="120" y="204"/>
                        <a:pt x="122" y="210"/>
                        <a:pt x="115" y="211"/>
                      </a:cubicBezTo>
                      <a:cubicBezTo>
                        <a:pt x="103" y="217"/>
                        <a:pt x="87" y="210"/>
                        <a:pt x="73" y="213"/>
                      </a:cubicBezTo>
                      <a:cubicBezTo>
                        <a:pt x="63" y="220"/>
                        <a:pt x="65" y="215"/>
                        <a:pt x="61" y="207"/>
                      </a:cubicBezTo>
                      <a:cubicBezTo>
                        <a:pt x="60" y="199"/>
                        <a:pt x="63" y="188"/>
                        <a:pt x="58" y="181"/>
                      </a:cubicBezTo>
                      <a:cubicBezTo>
                        <a:pt x="54" y="176"/>
                        <a:pt x="46" y="174"/>
                        <a:pt x="42" y="168"/>
                      </a:cubicBezTo>
                      <a:cubicBezTo>
                        <a:pt x="43" y="157"/>
                        <a:pt x="43" y="158"/>
                        <a:pt x="52" y="154"/>
                      </a:cubicBezTo>
                      <a:cubicBezTo>
                        <a:pt x="61" y="142"/>
                        <a:pt x="63" y="123"/>
                        <a:pt x="46" y="120"/>
                      </a:cubicBezTo>
                      <a:cubicBezTo>
                        <a:pt x="37" y="116"/>
                        <a:pt x="28" y="118"/>
                        <a:pt x="19" y="115"/>
                      </a:cubicBezTo>
                      <a:cubicBezTo>
                        <a:pt x="0" y="90"/>
                        <a:pt x="51" y="97"/>
                        <a:pt x="57" y="97"/>
                      </a:cubicBezTo>
                      <a:cubicBezTo>
                        <a:pt x="51" y="80"/>
                        <a:pt x="37" y="68"/>
                        <a:pt x="21" y="61"/>
                      </a:cubicBezTo>
                      <a:cubicBezTo>
                        <a:pt x="16" y="55"/>
                        <a:pt x="21" y="55"/>
                        <a:pt x="27" y="51"/>
                      </a:cubicBezTo>
                      <a:cubicBezTo>
                        <a:pt x="29" y="43"/>
                        <a:pt x="32" y="43"/>
                        <a:pt x="39" y="45"/>
                      </a:cubicBezTo>
                      <a:cubicBezTo>
                        <a:pt x="46" y="50"/>
                        <a:pt x="48" y="53"/>
                        <a:pt x="57" y="55"/>
                      </a:cubicBezTo>
                      <a:cubicBezTo>
                        <a:pt x="63" y="58"/>
                        <a:pt x="69" y="54"/>
                        <a:pt x="76" y="55"/>
                      </a:cubicBezTo>
                      <a:cubicBezTo>
                        <a:pt x="83" y="58"/>
                        <a:pt x="88" y="62"/>
                        <a:pt x="96" y="64"/>
                      </a:cubicBezTo>
                      <a:cubicBezTo>
                        <a:pt x="99" y="77"/>
                        <a:pt x="103" y="65"/>
                        <a:pt x="109" y="64"/>
                      </a:cubicBezTo>
                      <a:cubicBezTo>
                        <a:pt x="115" y="63"/>
                        <a:pt x="120" y="63"/>
                        <a:pt x="126" y="63"/>
                      </a:cubicBezTo>
                      <a:cubicBezTo>
                        <a:pt x="129" y="58"/>
                        <a:pt x="132" y="55"/>
                        <a:pt x="133" y="49"/>
                      </a:cubicBezTo>
                      <a:cubicBezTo>
                        <a:pt x="132" y="45"/>
                        <a:pt x="129" y="43"/>
                        <a:pt x="129" y="39"/>
                      </a:cubicBezTo>
                      <a:cubicBezTo>
                        <a:pt x="130" y="32"/>
                        <a:pt x="145" y="31"/>
                        <a:pt x="150" y="30"/>
                      </a:cubicBezTo>
                      <a:cubicBezTo>
                        <a:pt x="163" y="23"/>
                        <a:pt x="161" y="19"/>
                        <a:pt x="180" y="18"/>
                      </a:cubicBezTo>
                      <a:cubicBezTo>
                        <a:pt x="186" y="15"/>
                        <a:pt x="192" y="11"/>
                        <a:pt x="198" y="7"/>
                      </a:cubicBezTo>
                      <a:cubicBezTo>
                        <a:pt x="202" y="2"/>
                        <a:pt x="202" y="4"/>
                        <a:pt x="199" y="0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36" name="Freeform 113"/>
                <p:cNvSpPr>
                  <a:spLocks/>
                </p:cNvSpPr>
                <p:nvPr/>
              </p:nvSpPr>
              <p:spPr bwMode="gray">
                <a:xfrm>
                  <a:off x="344" y="3270"/>
                  <a:ext cx="154" cy="257"/>
                </a:xfrm>
                <a:custGeom>
                  <a:avLst/>
                  <a:gdLst>
                    <a:gd name="T0" fmla="*/ 81 w 154"/>
                    <a:gd name="T1" fmla="*/ 2 h 257"/>
                    <a:gd name="T2" fmla="*/ 111 w 154"/>
                    <a:gd name="T3" fmla="*/ 3 h 257"/>
                    <a:gd name="T4" fmla="*/ 132 w 154"/>
                    <a:gd name="T5" fmla="*/ 18 h 257"/>
                    <a:gd name="T6" fmla="*/ 141 w 154"/>
                    <a:gd name="T7" fmla="*/ 21 h 257"/>
                    <a:gd name="T8" fmla="*/ 148 w 154"/>
                    <a:gd name="T9" fmla="*/ 30 h 257"/>
                    <a:gd name="T10" fmla="*/ 153 w 154"/>
                    <a:gd name="T11" fmla="*/ 33 h 257"/>
                    <a:gd name="T12" fmla="*/ 145 w 154"/>
                    <a:gd name="T13" fmla="*/ 42 h 257"/>
                    <a:gd name="T14" fmla="*/ 136 w 154"/>
                    <a:gd name="T15" fmla="*/ 54 h 257"/>
                    <a:gd name="T16" fmla="*/ 139 w 154"/>
                    <a:gd name="T17" fmla="*/ 77 h 257"/>
                    <a:gd name="T18" fmla="*/ 142 w 154"/>
                    <a:gd name="T19" fmla="*/ 96 h 257"/>
                    <a:gd name="T20" fmla="*/ 126 w 154"/>
                    <a:gd name="T21" fmla="*/ 123 h 257"/>
                    <a:gd name="T22" fmla="*/ 112 w 154"/>
                    <a:gd name="T23" fmla="*/ 141 h 257"/>
                    <a:gd name="T24" fmla="*/ 111 w 154"/>
                    <a:gd name="T25" fmla="*/ 146 h 257"/>
                    <a:gd name="T26" fmla="*/ 106 w 154"/>
                    <a:gd name="T27" fmla="*/ 150 h 257"/>
                    <a:gd name="T28" fmla="*/ 100 w 154"/>
                    <a:gd name="T29" fmla="*/ 186 h 257"/>
                    <a:gd name="T30" fmla="*/ 102 w 154"/>
                    <a:gd name="T31" fmla="*/ 228 h 257"/>
                    <a:gd name="T32" fmla="*/ 90 w 154"/>
                    <a:gd name="T33" fmla="*/ 245 h 257"/>
                    <a:gd name="T34" fmla="*/ 54 w 154"/>
                    <a:gd name="T35" fmla="*/ 257 h 257"/>
                    <a:gd name="T36" fmla="*/ 40 w 154"/>
                    <a:gd name="T37" fmla="*/ 230 h 257"/>
                    <a:gd name="T38" fmla="*/ 31 w 154"/>
                    <a:gd name="T39" fmla="*/ 212 h 257"/>
                    <a:gd name="T40" fmla="*/ 25 w 154"/>
                    <a:gd name="T41" fmla="*/ 198 h 257"/>
                    <a:gd name="T42" fmla="*/ 7 w 154"/>
                    <a:gd name="T43" fmla="*/ 167 h 257"/>
                    <a:gd name="T44" fmla="*/ 0 w 154"/>
                    <a:gd name="T45" fmla="*/ 153 h 257"/>
                    <a:gd name="T46" fmla="*/ 15 w 154"/>
                    <a:gd name="T47" fmla="*/ 134 h 257"/>
                    <a:gd name="T48" fmla="*/ 34 w 154"/>
                    <a:gd name="T49" fmla="*/ 131 h 257"/>
                    <a:gd name="T50" fmla="*/ 75 w 154"/>
                    <a:gd name="T51" fmla="*/ 105 h 257"/>
                    <a:gd name="T52" fmla="*/ 84 w 154"/>
                    <a:gd name="T53" fmla="*/ 89 h 257"/>
                    <a:gd name="T54" fmla="*/ 97 w 154"/>
                    <a:gd name="T55" fmla="*/ 84 h 257"/>
                    <a:gd name="T56" fmla="*/ 91 w 154"/>
                    <a:gd name="T57" fmla="*/ 66 h 257"/>
                    <a:gd name="T58" fmla="*/ 64 w 154"/>
                    <a:gd name="T59" fmla="*/ 44 h 257"/>
                    <a:gd name="T60" fmla="*/ 67 w 154"/>
                    <a:gd name="T61" fmla="*/ 24 h 257"/>
                    <a:gd name="T62" fmla="*/ 75 w 154"/>
                    <a:gd name="T63" fmla="*/ 17 h 257"/>
                    <a:gd name="T64" fmla="*/ 81 w 154"/>
                    <a:gd name="T65" fmla="*/ 2 h 257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0" t="0" r="r" b="b"/>
                  <a:pathLst>
                    <a:path w="154" h="257">
                      <a:moveTo>
                        <a:pt x="81" y="2"/>
                      </a:moveTo>
                      <a:cubicBezTo>
                        <a:pt x="92" y="0"/>
                        <a:pt x="100" y="1"/>
                        <a:pt x="111" y="3"/>
                      </a:cubicBezTo>
                      <a:cubicBezTo>
                        <a:pt x="115" y="10"/>
                        <a:pt x="124" y="16"/>
                        <a:pt x="132" y="18"/>
                      </a:cubicBezTo>
                      <a:cubicBezTo>
                        <a:pt x="135" y="19"/>
                        <a:pt x="139" y="19"/>
                        <a:pt x="141" y="21"/>
                      </a:cubicBezTo>
                      <a:cubicBezTo>
                        <a:pt x="144" y="23"/>
                        <a:pt x="145" y="28"/>
                        <a:pt x="148" y="30"/>
                      </a:cubicBezTo>
                      <a:cubicBezTo>
                        <a:pt x="150" y="31"/>
                        <a:pt x="151" y="32"/>
                        <a:pt x="153" y="33"/>
                      </a:cubicBezTo>
                      <a:cubicBezTo>
                        <a:pt x="154" y="40"/>
                        <a:pt x="152" y="41"/>
                        <a:pt x="145" y="42"/>
                      </a:cubicBezTo>
                      <a:cubicBezTo>
                        <a:pt x="140" y="45"/>
                        <a:pt x="139" y="49"/>
                        <a:pt x="136" y="54"/>
                      </a:cubicBezTo>
                      <a:cubicBezTo>
                        <a:pt x="134" y="62"/>
                        <a:pt x="137" y="69"/>
                        <a:pt x="139" y="77"/>
                      </a:cubicBezTo>
                      <a:cubicBezTo>
                        <a:pt x="138" y="86"/>
                        <a:pt x="137" y="89"/>
                        <a:pt x="142" y="96"/>
                      </a:cubicBezTo>
                      <a:cubicBezTo>
                        <a:pt x="140" y="106"/>
                        <a:pt x="135" y="117"/>
                        <a:pt x="126" y="123"/>
                      </a:cubicBezTo>
                      <a:cubicBezTo>
                        <a:pt x="122" y="130"/>
                        <a:pt x="119" y="136"/>
                        <a:pt x="112" y="141"/>
                      </a:cubicBezTo>
                      <a:cubicBezTo>
                        <a:pt x="112" y="143"/>
                        <a:pt x="112" y="145"/>
                        <a:pt x="111" y="146"/>
                      </a:cubicBezTo>
                      <a:cubicBezTo>
                        <a:pt x="110" y="148"/>
                        <a:pt x="107" y="148"/>
                        <a:pt x="106" y="150"/>
                      </a:cubicBezTo>
                      <a:cubicBezTo>
                        <a:pt x="102" y="161"/>
                        <a:pt x="106" y="175"/>
                        <a:pt x="100" y="186"/>
                      </a:cubicBezTo>
                      <a:cubicBezTo>
                        <a:pt x="99" y="201"/>
                        <a:pt x="99" y="214"/>
                        <a:pt x="102" y="228"/>
                      </a:cubicBezTo>
                      <a:cubicBezTo>
                        <a:pt x="99" y="247"/>
                        <a:pt x="102" y="239"/>
                        <a:pt x="90" y="245"/>
                      </a:cubicBezTo>
                      <a:cubicBezTo>
                        <a:pt x="51" y="242"/>
                        <a:pt x="74" y="242"/>
                        <a:pt x="54" y="257"/>
                      </a:cubicBezTo>
                      <a:cubicBezTo>
                        <a:pt x="36" y="253"/>
                        <a:pt x="48" y="245"/>
                        <a:pt x="40" y="230"/>
                      </a:cubicBezTo>
                      <a:cubicBezTo>
                        <a:pt x="39" y="224"/>
                        <a:pt x="35" y="217"/>
                        <a:pt x="31" y="212"/>
                      </a:cubicBezTo>
                      <a:cubicBezTo>
                        <a:pt x="30" y="206"/>
                        <a:pt x="27" y="203"/>
                        <a:pt x="25" y="198"/>
                      </a:cubicBezTo>
                      <a:cubicBezTo>
                        <a:pt x="23" y="184"/>
                        <a:pt x="22" y="170"/>
                        <a:pt x="7" y="167"/>
                      </a:cubicBezTo>
                      <a:cubicBezTo>
                        <a:pt x="4" y="162"/>
                        <a:pt x="1" y="159"/>
                        <a:pt x="0" y="153"/>
                      </a:cubicBezTo>
                      <a:cubicBezTo>
                        <a:pt x="1" y="141"/>
                        <a:pt x="3" y="136"/>
                        <a:pt x="15" y="134"/>
                      </a:cubicBezTo>
                      <a:cubicBezTo>
                        <a:pt x="21" y="123"/>
                        <a:pt x="24" y="128"/>
                        <a:pt x="34" y="131"/>
                      </a:cubicBezTo>
                      <a:cubicBezTo>
                        <a:pt x="63" y="128"/>
                        <a:pt x="61" y="128"/>
                        <a:pt x="75" y="105"/>
                      </a:cubicBezTo>
                      <a:cubicBezTo>
                        <a:pt x="76" y="98"/>
                        <a:pt x="77" y="90"/>
                        <a:pt x="84" y="89"/>
                      </a:cubicBezTo>
                      <a:cubicBezTo>
                        <a:pt x="88" y="87"/>
                        <a:pt x="93" y="86"/>
                        <a:pt x="97" y="84"/>
                      </a:cubicBezTo>
                      <a:cubicBezTo>
                        <a:pt x="100" y="77"/>
                        <a:pt x="97" y="70"/>
                        <a:pt x="91" y="66"/>
                      </a:cubicBezTo>
                      <a:cubicBezTo>
                        <a:pt x="84" y="56"/>
                        <a:pt x="77" y="47"/>
                        <a:pt x="64" y="44"/>
                      </a:cubicBezTo>
                      <a:cubicBezTo>
                        <a:pt x="62" y="36"/>
                        <a:pt x="58" y="29"/>
                        <a:pt x="67" y="24"/>
                      </a:cubicBezTo>
                      <a:cubicBezTo>
                        <a:pt x="75" y="27"/>
                        <a:pt x="72" y="23"/>
                        <a:pt x="75" y="17"/>
                      </a:cubicBezTo>
                      <a:cubicBezTo>
                        <a:pt x="75" y="12"/>
                        <a:pt x="74" y="2"/>
                        <a:pt x="81" y="2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37" name="Freeform 114"/>
                <p:cNvSpPr>
                  <a:spLocks/>
                </p:cNvSpPr>
                <p:nvPr/>
              </p:nvSpPr>
              <p:spPr bwMode="gray">
                <a:xfrm>
                  <a:off x="335" y="3306"/>
                  <a:ext cx="113" cy="98"/>
                </a:xfrm>
                <a:custGeom>
                  <a:avLst/>
                  <a:gdLst>
                    <a:gd name="T0" fmla="*/ 54 w 113"/>
                    <a:gd name="T1" fmla="*/ 0 h 98"/>
                    <a:gd name="T2" fmla="*/ 76 w 113"/>
                    <a:gd name="T3" fmla="*/ 5 h 98"/>
                    <a:gd name="T4" fmla="*/ 93 w 113"/>
                    <a:gd name="T5" fmla="*/ 15 h 98"/>
                    <a:gd name="T6" fmla="*/ 105 w 113"/>
                    <a:gd name="T7" fmla="*/ 30 h 98"/>
                    <a:gd name="T8" fmla="*/ 100 w 113"/>
                    <a:gd name="T9" fmla="*/ 51 h 98"/>
                    <a:gd name="T10" fmla="*/ 84 w 113"/>
                    <a:gd name="T11" fmla="*/ 63 h 98"/>
                    <a:gd name="T12" fmla="*/ 79 w 113"/>
                    <a:gd name="T13" fmla="*/ 78 h 98"/>
                    <a:gd name="T14" fmla="*/ 67 w 113"/>
                    <a:gd name="T15" fmla="*/ 93 h 98"/>
                    <a:gd name="T16" fmla="*/ 40 w 113"/>
                    <a:gd name="T17" fmla="*/ 95 h 98"/>
                    <a:gd name="T18" fmla="*/ 19 w 113"/>
                    <a:gd name="T19" fmla="*/ 86 h 98"/>
                    <a:gd name="T20" fmla="*/ 3 w 113"/>
                    <a:gd name="T21" fmla="*/ 72 h 98"/>
                    <a:gd name="T22" fmla="*/ 9 w 113"/>
                    <a:gd name="T23" fmla="*/ 62 h 98"/>
                    <a:gd name="T24" fmla="*/ 18 w 113"/>
                    <a:gd name="T25" fmla="*/ 59 h 98"/>
                    <a:gd name="T26" fmla="*/ 30 w 113"/>
                    <a:gd name="T27" fmla="*/ 50 h 98"/>
                    <a:gd name="T28" fmla="*/ 52 w 113"/>
                    <a:gd name="T29" fmla="*/ 27 h 98"/>
                    <a:gd name="T30" fmla="*/ 54 w 113"/>
                    <a:gd name="T31" fmla="*/ 0 h 98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0" t="0" r="r" b="b"/>
                  <a:pathLst>
                    <a:path w="113" h="98">
                      <a:moveTo>
                        <a:pt x="54" y="0"/>
                      </a:moveTo>
                      <a:cubicBezTo>
                        <a:pt x="61" y="1"/>
                        <a:pt x="69" y="2"/>
                        <a:pt x="76" y="5"/>
                      </a:cubicBezTo>
                      <a:cubicBezTo>
                        <a:pt x="80" y="11"/>
                        <a:pt x="86" y="14"/>
                        <a:pt x="93" y="15"/>
                      </a:cubicBezTo>
                      <a:cubicBezTo>
                        <a:pt x="97" y="21"/>
                        <a:pt x="99" y="29"/>
                        <a:pt x="105" y="30"/>
                      </a:cubicBezTo>
                      <a:cubicBezTo>
                        <a:pt x="107" y="39"/>
                        <a:pt x="113" y="49"/>
                        <a:pt x="100" y="51"/>
                      </a:cubicBezTo>
                      <a:cubicBezTo>
                        <a:pt x="93" y="54"/>
                        <a:pt x="90" y="59"/>
                        <a:pt x="84" y="63"/>
                      </a:cubicBezTo>
                      <a:cubicBezTo>
                        <a:pt x="82" y="68"/>
                        <a:pt x="81" y="73"/>
                        <a:pt x="79" y="78"/>
                      </a:cubicBezTo>
                      <a:cubicBezTo>
                        <a:pt x="77" y="86"/>
                        <a:pt x="76" y="92"/>
                        <a:pt x="67" y="93"/>
                      </a:cubicBezTo>
                      <a:cubicBezTo>
                        <a:pt x="57" y="98"/>
                        <a:pt x="52" y="96"/>
                        <a:pt x="40" y="95"/>
                      </a:cubicBezTo>
                      <a:cubicBezTo>
                        <a:pt x="32" y="92"/>
                        <a:pt x="26" y="90"/>
                        <a:pt x="19" y="86"/>
                      </a:cubicBezTo>
                      <a:cubicBezTo>
                        <a:pt x="15" y="79"/>
                        <a:pt x="9" y="77"/>
                        <a:pt x="3" y="72"/>
                      </a:cubicBezTo>
                      <a:cubicBezTo>
                        <a:pt x="0" y="65"/>
                        <a:pt x="2" y="63"/>
                        <a:pt x="9" y="62"/>
                      </a:cubicBezTo>
                      <a:cubicBezTo>
                        <a:pt x="12" y="61"/>
                        <a:pt x="15" y="61"/>
                        <a:pt x="18" y="59"/>
                      </a:cubicBezTo>
                      <a:cubicBezTo>
                        <a:pt x="24" y="55"/>
                        <a:pt x="22" y="52"/>
                        <a:pt x="30" y="50"/>
                      </a:cubicBezTo>
                      <a:cubicBezTo>
                        <a:pt x="35" y="42"/>
                        <a:pt x="50" y="38"/>
                        <a:pt x="52" y="27"/>
                      </a:cubicBezTo>
                      <a:cubicBezTo>
                        <a:pt x="53" y="18"/>
                        <a:pt x="53" y="9"/>
                        <a:pt x="54" y="0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38" name="Freeform 115"/>
                <p:cNvSpPr>
                  <a:spLocks/>
                </p:cNvSpPr>
                <p:nvPr/>
              </p:nvSpPr>
              <p:spPr bwMode="gray">
                <a:xfrm>
                  <a:off x="323" y="3302"/>
                  <a:ext cx="71" cy="73"/>
                </a:xfrm>
                <a:custGeom>
                  <a:avLst/>
                  <a:gdLst>
                    <a:gd name="T0" fmla="*/ 21 w 71"/>
                    <a:gd name="T1" fmla="*/ 3 h 73"/>
                    <a:gd name="T2" fmla="*/ 36 w 71"/>
                    <a:gd name="T3" fmla="*/ 4 h 73"/>
                    <a:gd name="T4" fmla="*/ 57 w 71"/>
                    <a:gd name="T5" fmla="*/ 0 h 73"/>
                    <a:gd name="T6" fmla="*/ 52 w 71"/>
                    <a:gd name="T7" fmla="*/ 46 h 73"/>
                    <a:gd name="T8" fmla="*/ 19 w 71"/>
                    <a:gd name="T9" fmla="*/ 70 h 73"/>
                    <a:gd name="T10" fmla="*/ 4 w 71"/>
                    <a:gd name="T11" fmla="*/ 66 h 73"/>
                    <a:gd name="T12" fmla="*/ 0 w 71"/>
                    <a:gd name="T13" fmla="*/ 52 h 73"/>
                    <a:gd name="T14" fmla="*/ 21 w 71"/>
                    <a:gd name="T15" fmla="*/ 39 h 73"/>
                    <a:gd name="T16" fmla="*/ 21 w 71"/>
                    <a:gd name="T17" fmla="*/ 3 h 73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71" h="73">
                      <a:moveTo>
                        <a:pt x="21" y="3"/>
                      </a:moveTo>
                      <a:cubicBezTo>
                        <a:pt x="27" y="0"/>
                        <a:pt x="30" y="3"/>
                        <a:pt x="36" y="4"/>
                      </a:cubicBezTo>
                      <a:cubicBezTo>
                        <a:pt x="44" y="3"/>
                        <a:pt x="50" y="1"/>
                        <a:pt x="57" y="0"/>
                      </a:cubicBezTo>
                      <a:cubicBezTo>
                        <a:pt x="71" y="2"/>
                        <a:pt x="65" y="38"/>
                        <a:pt x="52" y="46"/>
                      </a:cubicBezTo>
                      <a:cubicBezTo>
                        <a:pt x="46" y="57"/>
                        <a:pt x="31" y="68"/>
                        <a:pt x="19" y="70"/>
                      </a:cubicBezTo>
                      <a:cubicBezTo>
                        <a:pt x="13" y="73"/>
                        <a:pt x="8" y="72"/>
                        <a:pt x="4" y="66"/>
                      </a:cubicBezTo>
                      <a:cubicBezTo>
                        <a:pt x="3" y="61"/>
                        <a:pt x="1" y="57"/>
                        <a:pt x="0" y="52"/>
                      </a:cubicBezTo>
                      <a:cubicBezTo>
                        <a:pt x="5" y="45"/>
                        <a:pt x="13" y="41"/>
                        <a:pt x="21" y="39"/>
                      </a:cubicBezTo>
                      <a:cubicBezTo>
                        <a:pt x="22" y="23"/>
                        <a:pt x="24" y="17"/>
                        <a:pt x="21" y="3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39" name="Freeform 116"/>
                <p:cNvSpPr>
                  <a:spLocks/>
                </p:cNvSpPr>
                <p:nvPr/>
              </p:nvSpPr>
              <p:spPr bwMode="gray">
                <a:xfrm>
                  <a:off x="270" y="3086"/>
                  <a:ext cx="193" cy="222"/>
                </a:xfrm>
                <a:custGeom>
                  <a:avLst/>
                  <a:gdLst>
                    <a:gd name="T0" fmla="*/ 17 w 193"/>
                    <a:gd name="T1" fmla="*/ 16 h 222"/>
                    <a:gd name="T2" fmla="*/ 44 w 193"/>
                    <a:gd name="T3" fmla="*/ 12 h 222"/>
                    <a:gd name="T4" fmla="*/ 56 w 193"/>
                    <a:gd name="T5" fmla="*/ 1 h 222"/>
                    <a:gd name="T6" fmla="*/ 72 w 193"/>
                    <a:gd name="T7" fmla="*/ 3 h 222"/>
                    <a:gd name="T8" fmla="*/ 71 w 193"/>
                    <a:gd name="T9" fmla="*/ 10 h 222"/>
                    <a:gd name="T10" fmla="*/ 75 w 193"/>
                    <a:gd name="T11" fmla="*/ 19 h 222"/>
                    <a:gd name="T12" fmla="*/ 125 w 193"/>
                    <a:gd name="T13" fmla="*/ 37 h 222"/>
                    <a:gd name="T14" fmla="*/ 146 w 193"/>
                    <a:gd name="T15" fmla="*/ 66 h 222"/>
                    <a:gd name="T16" fmla="*/ 155 w 193"/>
                    <a:gd name="T17" fmla="*/ 81 h 222"/>
                    <a:gd name="T18" fmla="*/ 159 w 193"/>
                    <a:gd name="T19" fmla="*/ 96 h 222"/>
                    <a:gd name="T20" fmla="*/ 170 w 193"/>
                    <a:gd name="T21" fmla="*/ 132 h 222"/>
                    <a:gd name="T22" fmla="*/ 180 w 193"/>
                    <a:gd name="T23" fmla="*/ 154 h 222"/>
                    <a:gd name="T24" fmla="*/ 174 w 193"/>
                    <a:gd name="T25" fmla="*/ 192 h 222"/>
                    <a:gd name="T26" fmla="*/ 152 w 193"/>
                    <a:gd name="T27" fmla="*/ 190 h 222"/>
                    <a:gd name="T28" fmla="*/ 140 w 193"/>
                    <a:gd name="T29" fmla="*/ 214 h 222"/>
                    <a:gd name="T30" fmla="*/ 128 w 193"/>
                    <a:gd name="T31" fmla="*/ 222 h 222"/>
                    <a:gd name="T32" fmla="*/ 107 w 193"/>
                    <a:gd name="T33" fmla="*/ 217 h 222"/>
                    <a:gd name="T34" fmla="*/ 84 w 193"/>
                    <a:gd name="T35" fmla="*/ 219 h 222"/>
                    <a:gd name="T36" fmla="*/ 74 w 193"/>
                    <a:gd name="T37" fmla="*/ 216 h 222"/>
                    <a:gd name="T38" fmla="*/ 80 w 193"/>
                    <a:gd name="T39" fmla="*/ 202 h 222"/>
                    <a:gd name="T40" fmla="*/ 63 w 193"/>
                    <a:gd name="T41" fmla="*/ 187 h 222"/>
                    <a:gd name="T42" fmla="*/ 39 w 193"/>
                    <a:gd name="T43" fmla="*/ 174 h 222"/>
                    <a:gd name="T44" fmla="*/ 12 w 193"/>
                    <a:gd name="T45" fmla="*/ 159 h 222"/>
                    <a:gd name="T46" fmla="*/ 5 w 193"/>
                    <a:gd name="T47" fmla="*/ 145 h 222"/>
                    <a:gd name="T48" fmla="*/ 27 w 193"/>
                    <a:gd name="T49" fmla="*/ 129 h 222"/>
                    <a:gd name="T50" fmla="*/ 17 w 193"/>
                    <a:gd name="T51" fmla="*/ 105 h 222"/>
                    <a:gd name="T52" fmla="*/ 6 w 193"/>
                    <a:gd name="T53" fmla="*/ 94 h 222"/>
                    <a:gd name="T54" fmla="*/ 11 w 193"/>
                    <a:gd name="T55" fmla="*/ 72 h 222"/>
                    <a:gd name="T56" fmla="*/ 6 w 193"/>
                    <a:gd name="T57" fmla="*/ 46 h 222"/>
                    <a:gd name="T58" fmla="*/ 11 w 193"/>
                    <a:gd name="T59" fmla="*/ 30 h 222"/>
                    <a:gd name="T60" fmla="*/ 17 w 193"/>
                    <a:gd name="T61" fmla="*/ 16 h 222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0" t="0" r="r" b="b"/>
                  <a:pathLst>
                    <a:path w="193" h="222">
                      <a:moveTo>
                        <a:pt x="17" y="16"/>
                      </a:moveTo>
                      <a:cubicBezTo>
                        <a:pt x="28" y="14"/>
                        <a:pt x="31" y="13"/>
                        <a:pt x="44" y="12"/>
                      </a:cubicBezTo>
                      <a:cubicBezTo>
                        <a:pt x="47" y="6"/>
                        <a:pt x="50" y="4"/>
                        <a:pt x="56" y="1"/>
                      </a:cubicBezTo>
                      <a:cubicBezTo>
                        <a:pt x="61" y="2"/>
                        <a:pt x="67" y="0"/>
                        <a:pt x="72" y="3"/>
                      </a:cubicBezTo>
                      <a:cubicBezTo>
                        <a:pt x="74" y="4"/>
                        <a:pt x="71" y="8"/>
                        <a:pt x="71" y="10"/>
                      </a:cubicBezTo>
                      <a:cubicBezTo>
                        <a:pt x="71" y="14"/>
                        <a:pt x="72" y="17"/>
                        <a:pt x="75" y="19"/>
                      </a:cubicBezTo>
                      <a:cubicBezTo>
                        <a:pt x="88" y="31"/>
                        <a:pt x="108" y="35"/>
                        <a:pt x="125" y="37"/>
                      </a:cubicBezTo>
                      <a:cubicBezTo>
                        <a:pt x="135" y="42"/>
                        <a:pt x="140" y="57"/>
                        <a:pt x="146" y="66"/>
                      </a:cubicBezTo>
                      <a:cubicBezTo>
                        <a:pt x="147" y="74"/>
                        <a:pt x="149" y="75"/>
                        <a:pt x="155" y="81"/>
                      </a:cubicBezTo>
                      <a:cubicBezTo>
                        <a:pt x="156" y="86"/>
                        <a:pt x="158" y="91"/>
                        <a:pt x="159" y="96"/>
                      </a:cubicBezTo>
                      <a:cubicBezTo>
                        <a:pt x="157" y="111"/>
                        <a:pt x="154" y="123"/>
                        <a:pt x="170" y="132"/>
                      </a:cubicBezTo>
                      <a:cubicBezTo>
                        <a:pt x="171" y="140"/>
                        <a:pt x="173" y="149"/>
                        <a:pt x="180" y="154"/>
                      </a:cubicBezTo>
                      <a:cubicBezTo>
                        <a:pt x="188" y="167"/>
                        <a:pt x="193" y="188"/>
                        <a:pt x="174" y="192"/>
                      </a:cubicBezTo>
                      <a:cubicBezTo>
                        <a:pt x="166" y="188"/>
                        <a:pt x="161" y="189"/>
                        <a:pt x="152" y="190"/>
                      </a:cubicBezTo>
                      <a:cubicBezTo>
                        <a:pt x="149" y="200"/>
                        <a:pt x="149" y="207"/>
                        <a:pt x="140" y="214"/>
                      </a:cubicBezTo>
                      <a:cubicBezTo>
                        <a:pt x="136" y="220"/>
                        <a:pt x="134" y="219"/>
                        <a:pt x="128" y="222"/>
                      </a:cubicBezTo>
                      <a:cubicBezTo>
                        <a:pt x="110" y="219"/>
                        <a:pt x="116" y="222"/>
                        <a:pt x="107" y="217"/>
                      </a:cubicBezTo>
                      <a:cubicBezTo>
                        <a:pt x="98" y="219"/>
                        <a:pt x="93" y="220"/>
                        <a:pt x="84" y="219"/>
                      </a:cubicBezTo>
                      <a:cubicBezTo>
                        <a:pt x="81" y="217"/>
                        <a:pt x="75" y="219"/>
                        <a:pt x="74" y="216"/>
                      </a:cubicBezTo>
                      <a:cubicBezTo>
                        <a:pt x="70" y="206"/>
                        <a:pt x="75" y="205"/>
                        <a:pt x="80" y="202"/>
                      </a:cubicBezTo>
                      <a:cubicBezTo>
                        <a:pt x="85" y="195"/>
                        <a:pt x="70" y="190"/>
                        <a:pt x="63" y="187"/>
                      </a:cubicBezTo>
                      <a:cubicBezTo>
                        <a:pt x="58" y="182"/>
                        <a:pt x="47" y="176"/>
                        <a:pt x="39" y="174"/>
                      </a:cubicBezTo>
                      <a:cubicBezTo>
                        <a:pt x="30" y="169"/>
                        <a:pt x="21" y="165"/>
                        <a:pt x="12" y="159"/>
                      </a:cubicBezTo>
                      <a:cubicBezTo>
                        <a:pt x="9" y="154"/>
                        <a:pt x="6" y="151"/>
                        <a:pt x="5" y="145"/>
                      </a:cubicBezTo>
                      <a:cubicBezTo>
                        <a:pt x="7" y="130"/>
                        <a:pt x="13" y="130"/>
                        <a:pt x="27" y="129"/>
                      </a:cubicBezTo>
                      <a:cubicBezTo>
                        <a:pt x="26" y="118"/>
                        <a:pt x="26" y="112"/>
                        <a:pt x="17" y="105"/>
                      </a:cubicBezTo>
                      <a:cubicBezTo>
                        <a:pt x="14" y="99"/>
                        <a:pt x="12" y="97"/>
                        <a:pt x="6" y="94"/>
                      </a:cubicBezTo>
                      <a:cubicBezTo>
                        <a:pt x="0" y="87"/>
                        <a:pt x="5" y="77"/>
                        <a:pt x="11" y="72"/>
                      </a:cubicBezTo>
                      <a:cubicBezTo>
                        <a:pt x="13" y="62"/>
                        <a:pt x="11" y="55"/>
                        <a:pt x="6" y="46"/>
                      </a:cubicBezTo>
                      <a:cubicBezTo>
                        <a:pt x="8" y="40"/>
                        <a:pt x="8" y="35"/>
                        <a:pt x="11" y="30"/>
                      </a:cubicBezTo>
                      <a:cubicBezTo>
                        <a:pt x="12" y="26"/>
                        <a:pt x="18" y="18"/>
                        <a:pt x="17" y="16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40" name="Freeform 117"/>
                <p:cNvSpPr>
                  <a:spLocks/>
                </p:cNvSpPr>
                <p:nvPr/>
              </p:nvSpPr>
              <p:spPr bwMode="gray">
                <a:xfrm>
                  <a:off x="272" y="3299"/>
                  <a:ext cx="76" cy="52"/>
                </a:xfrm>
                <a:custGeom>
                  <a:avLst/>
                  <a:gdLst>
                    <a:gd name="T0" fmla="*/ 27 w 76"/>
                    <a:gd name="T1" fmla="*/ 3 h 52"/>
                    <a:gd name="T2" fmla="*/ 42 w 76"/>
                    <a:gd name="T3" fmla="*/ 7 h 52"/>
                    <a:gd name="T4" fmla="*/ 72 w 76"/>
                    <a:gd name="T5" fmla="*/ 9 h 52"/>
                    <a:gd name="T6" fmla="*/ 58 w 76"/>
                    <a:gd name="T7" fmla="*/ 52 h 52"/>
                    <a:gd name="T8" fmla="*/ 43 w 76"/>
                    <a:gd name="T9" fmla="*/ 48 h 52"/>
                    <a:gd name="T10" fmla="*/ 25 w 76"/>
                    <a:gd name="T11" fmla="*/ 42 h 52"/>
                    <a:gd name="T12" fmla="*/ 16 w 76"/>
                    <a:gd name="T13" fmla="*/ 39 h 52"/>
                    <a:gd name="T14" fmla="*/ 10 w 76"/>
                    <a:gd name="T15" fmla="*/ 33 h 52"/>
                    <a:gd name="T16" fmla="*/ 1 w 76"/>
                    <a:gd name="T17" fmla="*/ 21 h 52"/>
                    <a:gd name="T18" fmla="*/ 9 w 76"/>
                    <a:gd name="T19" fmla="*/ 12 h 52"/>
                    <a:gd name="T20" fmla="*/ 27 w 76"/>
                    <a:gd name="T21" fmla="*/ 3 h 52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76" h="52">
                      <a:moveTo>
                        <a:pt x="27" y="3"/>
                      </a:moveTo>
                      <a:cubicBezTo>
                        <a:pt x="32" y="4"/>
                        <a:pt x="37" y="6"/>
                        <a:pt x="42" y="7"/>
                      </a:cubicBezTo>
                      <a:cubicBezTo>
                        <a:pt x="52" y="7"/>
                        <a:pt x="68" y="0"/>
                        <a:pt x="72" y="9"/>
                      </a:cubicBezTo>
                      <a:cubicBezTo>
                        <a:pt x="71" y="22"/>
                        <a:pt x="76" y="48"/>
                        <a:pt x="58" y="52"/>
                      </a:cubicBezTo>
                      <a:cubicBezTo>
                        <a:pt x="53" y="51"/>
                        <a:pt x="48" y="49"/>
                        <a:pt x="43" y="48"/>
                      </a:cubicBezTo>
                      <a:cubicBezTo>
                        <a:pt x="37" y="45"/>
                        <a:pt x="31" y="43"/>
                        <a:pt x="25" y="42"/>
                      </a:cubicBezTo>
                      <a:cubicBezTo>
                        <a:pt x="22" y="41"/>
                        <a:pt x="18" y="41"/>
                        <a:pt x="16" y="39"/>
                      </a:cubicBezTo>
                      <a:cubicBezTo>
                        <a:pt x="8" y="31"/>
                        <a:pt x="23" y="36"/>
                        <a:pt x="10" y="33"/>
                      </a:cubicBezTo>
                      <a:cubicBezTo>
                        <a:pt x="9" y="26"/>
                        <a:pt x="7" y="25"/>
                        <a:pt x="1" y="21"/>
                      </a:cubicBezTo>
                      <a:cubicBezTo>
                        <a:pt x="0" y="14"/>
                        <a:pt x="2" y="13"/>
                        <a:pt x="9" y="12"/>
                      </a:cubicBezTo>
                      <a:cubicBezTo>
                        <a:pt x="16" y="9"/>
                        <a:pt x="21" y="8"/>
                        <a:pt x="27" y="3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41" name="Freeform 118"/>
                <p:cNvSpPr>
                  <a:spLocks/>
                </p:cNvSpPr>
                <p:nvPr/>
              </p:nvSpPr>
              <p:spPr bwMode="gray">
                <a:xfrm>
                  <a:off x="242" y="3232"/>
                  <a:ext cx="108" cy="83"/>
                </a:xfrm>
                <a:custGeom>
                  <a:avLst/>
                  <a:gdLst>
                    <a:gd name="T0" fmla="*/ 0 w 108"/>
                    <a:gd name="T1" fmla="*/ 35 h 83"/>
                    <a:gd name="T2" fmla="*/ 18 w 108"/>
                    <a:gd name="T3" fmla="*/ 16 h 83"/>
                    <a:gd name="T4" fmla="*/ 58 w 108"/>
                    <a:gd name="T5" fmla="*/ 23 h 83"/>
                    <a:gd name="T6" fmla="*/ 75 w 108"/>
                    <a:gd name="T7" fmla="*/ 29 h 83"/>
                    <a:gd name="T8" fmla="*/ 99 w 108"/>
                    <a:gd name="T9" fmla="*/ 41 h 83"/>
                    <a:gd name="T10" fmla="*/ 108 w 108"/>
                    <a:gd name="T11" fmla="*/ 55 h 83"/>
                    <a:gd name="T12" fmla="*/ 84 w 108"/>
                    <a:gd name="T13" fmla="*/ 73 h 83"/>
                    <a:gd name="T14" fmla="*/ 52 w 108"/>
                    <a:gd name="T15" fmla="*/ 71 h 83"/>
                    <a:gd name="T16" fmla="*/ 37 w 108"/>
                    <a:gd name="T17" fmla="*/ 77 h 83"/>
                    <a:gd name="T18" fmla="*/ 24 w 108"/>
                    <a:gd name="T19" fmla="*/ 80 h 83"/>
                    <a:gd name="T20" fmla="*/ 16 w 108"/>
                    <a:gd name="T21" fmla="*/ 59 h 83"/>
                    <a:gd name="T22" fmla="*/ 0 w 108"/>
                    <a:gd name="T23" fmla="*/ 35 h 83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0" t="0" r="r" b="b"/>
                  <a:pathLst>
                    <a:path w="108" h="83">
                      <a:moveTo>
                        <a:pt x="0" y="35"/>
                      </a:moveTo>
                      <a:cubicBezTo>
                        <a:pt x="8" y="29"/>
                        <a:pt x="13" y="25"/>
                        <a:pt x="18" y="16"/>
                      </a:cubicBezTo>
                      <a:cubicBezTo>
                        <a:pt x="21" y="0"/>
                        <a:pt x="48" y="22"/>
                        <a:pt x="58" y="23"/>
                      </a:cubicBezTo>
                      <a:cubicBezTo>
                        <a:pt x="64" y="25"/>
                        <a:pt x="69" y="28"/>
                        <a:pt x="75" y="29"/>
                      </a:cubicBezTo>
                      <a:cubicBezTo>
                        <a:pt x="81" y="36"/>
                        <a:pt x="90" y="39"/>
                        <a:pt x="99" y="41"/>
                      </a:cubicBezTo>
                      <a:cubicBezTo>
                        <a:pt x="102" y="46"/>
                        <a:pt x="105" y="50"/>
                        <a:pt x="108" y="55"/>
                      </a:cubicBezTo>
                      <a:cubicBezTo>
                        <a:pt x="100" y="70"/>
                        <a:pt x="103" y="70"/>
                        <a:pt x="84" y="73"/>
                      </a:cubicBezTo>
                      <a:cubicBezTo>
                        <a:pt x="73" y="71"/>
                        <a:pt x="63" y="70"/>
                        <a:pt x="52" y="71"/>
                      </a:cubicBezTo>
                      <a:cubicBezTo>
                        <a:pt x="47" y="74"/>
                        <a:pt x="43" y="76"/>
                        <a:pt x="37" y="77"/>
                      </a:cubicBezTo>
                      <a:cubicBezTo>
                        <a:pt x="32" y="81"/>
                        <a:pt x="30" y="83"/>
                        <a:pt x="24" y="80"/>
                      </a:cubicBezTo>
                      <a:cubicBezTo>
                        <a:pt x="21" y="73"/>
                        <a:pt x="19" y="66"/>
                        <a:pt x="16" y="59"/>
                      </a:cubicBezTo>
                      <a:cubicBezTo>
                        <a:pt x="11" y="48"/>
                        <a:pt x="1" y="47"/>
                        <a:pt x="0" y="35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42" name="Freeform 119"/>
                <p:cNvSpPr>
                  <a:spLocks/>
                </p:cNvSpPr>
                <p:nvPr/>
              </p:nvSpPr>
              <p:spPr bwMode="gray">
                <a:xfrm>
                  <a:off x="185" y="3176"/>
                  <a:ext cx="112" cy="91"/>
                </a:xfrm>
                <a:custGeom>
                  <a:avLst/>
                  <a:gdLst>
                    <a:gd name="T0" fmla="*/ 0 w 112"/>
                    <a:gd name="T1" fmla="*/ 15 h 91"/>
                    <a:gd name="T2" fmla="*/ 27 w 112"/>
                    <a:gd name="T3" fmla="*/ 3 h 91"/>
                    <a:gd name="T4" fmla="*/ 42 w 112"/>
                    <a:gd name="T5" fmla="*/ 6 h 91"/>
                    <a:gd name="T6" fmla="*/ 57 w 112"/>
                    <a:gd name="T7" fmla="*/ 19 h 91"/>
                    <a:gd name="T8" fmla="*/ 90 w 112"/>
                    <a:gd name="T9" fmla="*/ 0 h 91"/>
                    <a:gd name="T10" fmla="*/ 106 w 112"/>
                    <a:gd name="T11" fmla="*/ 13 h 91"/>
                    <a:gd name="T12" fmla="*/ 112 w 112"/>
                    <a:gd name="T13" fmla="*/ 27 h 91"/>
                    <a:gd name="T14" fmla="*/ 97 w 112"/>
                    <a:gd name="T15" fmla="*/ 46 h 91"/>
                    <a:gd name="T16" fmla="*/ 88 w 112"/>
                    <a:gd name="T17" fmla="*/ 69 h 91"/>
                    <a:gd name="T18" fmla="*/ 73 w 112"/>
                    <a:gd name="T19" fmla="*/ 76 h 91"/>
                    <a:gd name="T20" fmla="*/ 61 w 112"/>
                    <a:gd name="T21" fmla="*/ 91 h 91"/>
                    <a:gd name="T22" fmla="*/ 43 w 112"/>
                    <a:gd name="T23" fmla="*/ 76 h 91"/>
                    <a:gd name="T24" fmla="*/ 31 w 112"/>
                    <a:gd name="T25" fmla="*/ 64 h 91"/>
                    <a:gd name="T26" fmla="*/ 0 w 112"/>
                    <a:gd name="T27" fmla="*/ 15 h 91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0" t="0" r="r" b="b"/>
                  <a:pathLst>
                    <a:path w="112" h="91">
                      <a:moveTo>
                        <a:pt x="0" y="15"/>
                      </a:moveTo>
                      <a:cubicBezTo>
                        <a:pt x="10" y="12"/>
                        <a:pt x="17" y="5"/>
                        <a:pt x="27" y="3"/>
                      </a:cubicBezTo>
                      <a:cubicBezTo>
                        <a:pt x="33" y="0"/>
                        <a:pt x="36" y="3"/>
                        <a:pt x="42" y="6"/>
                      </a:cubicBezTo>
                      <a:cubicBezTo>
                        <a:pt x="46" y="12"/>
                        <a:pt x="50" y="18"/>
                        <a:pt x="57" y="19"/>
                      </a:cubicBezTo>
                      <a:cubicBezTo>
                        <a:pt x="68" y="24"/>
                        <a:pt x="76" y="3"/>
                        <a:pt x="90" y="0"/>
                      </a:cubicBezTo>
                      <a:cubicBezTo>
                        <a:pt x="94" y="6"/>
                        <a:pt x="100" y="9"/>
                        <a:pt x="106" y="13"/>
                      </a:cubicBezTo>
                      <a:cubicBezTo>
                        <a:pt x="109" y="18"/>
                        <a:pt x="111" y="21"/>
                        <a:pt x="112" y="27"/>
                      </a:cubicBezTo>
                      <a:cubicBezTo>
                        <a:pt x="111" y="40"/>
                        <a:pt x="110" y="43"/>
                        <a:pt x="97" y="46"/>
                      </a:cubicBezTo>
                      <a:cubicBezTo>
                        <a:pt x="88" y="61"/>
                        <a:pt x="104" y="71"/>
                        <a:pt x="88" y="69"/>
                      </a:cubicBezTo>
                      <a:cubicBezTo>
                        <a:pt x="80" y="70"/>
                        <a:pt x="77" y="69"/>
                        <a:pt x="73" y="76"/>
                      </a:cubicBezTo>
                      <a:cubicBezTo>
                        <a:pt x="71" y="84"/>
                        <a:pt x="69" y="90"/>
                        <a:pt x="61" y="91"/>
                      </a:cubicBezTo>
                      <a:cubicBezTo>
                        <a:pt x="45" y="89"/>
                        <a:pt x="54" y="82"/>
                        <a:pt x="43" y="76"/>
                      </a:cubicBezTo>
                      <a:cubicBezTo>
                        <a:pt x="35" y="65"/>
                        <a:pt x="39" y="69"/>
                        <a:pt x="31" y="64"/>
                      </a:cubicBezTo>
                      <a:cubicBezTo>
                        <a:pt x="28" y="47"/>
                        <a:pt x="0" y="29"/>
                        <a:pt x="0" y="15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43" name="Freeform 120"/>
                <p:cNvSpPr>
                  <a:spLocks/>
                </p:cNvSpPr>
                <p:nvPr/>
              </p:nvSpPr>
              <p:spPr bwMode="gray">
                <a:xfrm>
                  <a:off x="175" y="3063"/>
                  <a:ext cx="76" cy="101"/>
                </a:xfrm>
                <a:custGeom>
                  <a:avLst/>
                  <a:gdLst>
                    <a:gd name="T0" fmla="*/ 5 w 76"/>
                    <a:gd name="T1" fmla="*/ 0 h 101"/>
                    <a:gd name="T2" fmla="*/ 29 w 76"/>
                    <a:gd name="T3" fmla="*/ 12 h 101"/>
                    <a:gd name="T4" fmla="*/ 62 w 76"/>
                    <a:gd name="T5" fmla="*/ 18 h 101"/>
                    <a:gd name="T6" fmla="*/ 71 w 76"/>
                    <a:gd name="T7" fmla="*/ 35 h 101"/>
                    <a:gd name="T8" fmla="*/ 76 w 76"/>
                    <a:gd name="T9" fmla="*/ 48 h 101"/>
                    <a:gd name="T10" fmla="*/ 65 w 76"/>
                    <a:gd name="T11" fmla="*/ 75 h 101"/>
                    <a:gd name="T12" fmla="*/ 58 w 76"/>
                    <a:gd name="T13" fmla="*/ 74 h 101"/>
                    <a:gd name="T14" fmla="*/ 20 w 76"/>
                    <a:gd name="T15" fmla="*/ 101 h 101"/>
                    <a:gd name="T16" fmla="*/ 8 w 76"/>
                    <a:gd name="T17" fmla="*/ 81 h 101"/>
                    <a:gd name="T18" fmla="*/ 32 w 76"/>
                    <a:gd name="T19" fmla="*/ 60 h 101"/>
                    <a:gd name="T20" fmla="*/ 43 w 76"/>
                    <a:gd name="T21" fmla="*/ 42 h 101"/>
                    <a:gd name="T22" fmla="*/ 29 w 76"/>
                    <a:gd name="T23" fmla="*/ 26 h 101"/>
                    <a:gd name="T24" fmla="*/ 8 w 76"/>
                    <a:gd name="T25" fmla="*/ 20 h 101"/>
                    <a:gd name="T26" fmla="*/ 5 w 76"/>
                    <a:gd name="T27" fmla="*/ 0 h 101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0" t="0" r="r" b="b"/>
                  <a:pathLst>
                    <a:path w="76" h="101">
                      <a:moveTo>
                        <a:pt x="5" y="0"/>
                      </a:moveTo>
                      <a:cubicBezTo>
                        <a:pt x="14" y="3"/>
                        <a:pt x="20" y="10"/>
                        <a:pt x="29" y="12"/>
                      </a:cubicBezTo>
                      <a:cubicBezTo>
                        <a:pt x="39" y="16"/>
                        <a:pt x="51" y="16"/>
                        <a:pt x="62" y="18"/>
                      </a:cubicBezTo>
                      <a:cubicBezTo>
                        <a:pt x="64" y="25"/>
                        <a:pt x="64" y="31"/>
                        <a:pt x="71" y="35"/>
                      </a:cubicBezTo>
                      <a:cubicBezTo>
                        <a:pt x="73" y="39"/>
                        <a:pt x="74" y="44"/>
                        <a:pt x="76" y="48"/>
                      </a:cubicBezTo>
                      <a:cubicBezTo>
                        <a:pt x="72" y="57"/>
                        <a:pt x="71" y="67"/>
                        <a:pt x="65" y="75"/>
                      </a:cubicBezTo>
                      <a:cubicBezTo>
                        <a:pt x="63" y="89"/>
                        <a:pt x="63" y="80"/>
                        <a:pt x="58" y="74"/>
                      </a:cubicBezTo>
                      <a:cubicBezTo>
                        <a:pt x="32" y="76"/>
                        <a:pt x="39" y="90"/>
                        <a:pt x="20" y="101"/>
                      </a:cubicBezTo>
                      <a:cubicBezTo>
                        <a:pt x="13" y="97"/>
                        <a:pt x="12" y="88"/>
                        <a:pt x="8" y="81"/>
                      </a:cubicBezTo>
                      <a:cubicBezTo>
                        <a:pt x="11" y="71"/>
                        <a:pt x="23" y="65"/>
                        <a:pt x="32" y="60"/>
                      </a:cubicBezTo>
                      <a:cubicBezTo>
                        <a:pt x="35" y="53"/>
                        <a:pt x="37" y="46"/>
                        <a:pt x="43" y="42"/>
                      </a:cubicBezTo>
                      <a:cubicBezTo>
                        <a:pt x="49" y="33"/>
                        <a:pt x="37" y="28"/>
                        <a:pt x="29" y="26"/>
                      </a:cubicBezTo>
                      <a:cubicBezTo>
                        <a:pt x="23" y="23"/>
                        <a:pt x="15" y="21"/>
                        <a:pt x="8" y="20"/>
                      </a:cubicBezTo>
                      <a:cubicBezTo>
                        <a:pt x="0" y="14"/>
                        <a:pt x="0" y="9"/>
                        <a:pt x="5" y="0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44" name="Freeform 121"/>
                <p:cNvSpPr>
                  <a:spLocks/>
                </p:cNvSpPr>
                <p:nvPr/>
              </p:nvSpPr>
              <p:spPr bwMode="gray">
                <a:xfrm>
                  <a:off x="123" y="2955"/>
                  <a:ext cx="198" cy="245"/>
                </a:xfrm>
                <a:custGeom>
                  <a:avLst/>
                  <a:gdLst>
                    <a:gd name="T0" fmla="*/ 116 w 198"/>
                    <a:gd name="T1" fmla="*/ 0 h 245"/>
                    <a:gd name="T2" fmla="*/ 152 w 198"/>
                    <a:gd name="T3" fmla="*/ 15 h 245"/>
                    <a:gd name="T4" fmla="*/ 144 w 198"/>
                    <a:gd name="T5" fmla="*/ 24 h 245"/>
                    <a:gd name="T6" fmla="*/ 176 w 198"/>
                    <a:gd name="T7" fmla="*/ 39 h 245"/>
                    <a:gd name="T8" fmla="*/ 188 w 198"/>
                    <a:gd name="T9" fmla="*/ 48 h 245"/>
                    <a:gd name="T10" fmla="*/ 174 w 198"/>
                    <a:gd name="T11" fmla="*/ 81 h 245"/>
                    <a:gd name="T12" fmla="*/ 188 w 198"/>
                    <a:gd name="T13" fmla="*/ 96 h 245"/>
                    <a:gd name="T14" fmla="*/ 194 w 198"/>
                    <a:gd name="T15" fmla="*/ 123 h 245"/>
                    <a:gd name="T16" fmla="*/ 198 w 198"/>
                    <a:gd name="T17" fmla="*/ 137 h 245"/>
                    <a:gd name="T18" fmla="*/ 186 w 198"/>
                    <a:gd name="T19" fmla="*/ 144 h 245"/>
                    <a:gd name="T20" fmla="*/ 165 w 198"/>
                    <a:gd name="T21" fmla="*/ 150 h 245"/>
                    <a:gd name="T22" fmla="*/ 159 w 198"/>
                    <a:gd name="T23" fmla="*/ 174 h 245"/>
                    <a:gd name="T24" fmla="*/ 150 w 198"/>
                    <a:gd name="T25" fmla="*/ 216 h 245"/>
                    <a:gd name="T26" fmla="*/ 143 w 198"/>
                    <a:gd name="T27" fmla="*/ 227 h 245"/>
                    <a:gd name="T28" fmla="*/ 126 w 198"/>
                    <a:gd name="T29" fmla="*/ 237 h 245"/>
                    <a:gd name="T30" fmla="*/ 98 w 198"/>
                    <a:gd name="T31" fmla="*/ 225 h 245"/>
                    <a:gd name="T32" fmla="*/ 72 w 198"/>
                    <a:gd name="T33" fmla="*/ 234 h 245"/>
                    <a:gd name="T34" fmla="*/ 51 w 198"/>
                    <a:gd name="T35" fmla="*/ 224 h 245"/>
                    <a:gd name="T36" fmla="*/ 39 w 198"/>
                    <a:gd name="T37" fmla="*/ 215 h 245"/>
                    <a:gd name="T38" fmla="*/ 27 w 198"/>
                    <a:gd name="T39" fmla="*/ 143 h 245"/>
                    <a:gd name="T40" fmla="*/ 17 w 198"/>
                    <a:gd name="T41" fmla="*/ 129 h 245"/>
                    <a:gd name="T42" fmla="*/ 2 w 198"/>
                    <a:gd name="T43" fmla="*/ 80 h 245"/>
                    <a:gd name="T44" fmla="*/ 6 w 198"/>
                    <a:gd name="T45" fmla="*/ 68 h 245"/>
                    <a:gd name="T46" fmla="*/ 0 w 198"/>
                    <a:gd name="T47" fmla="*/ 35 h 245"/>
                    <a:gd name="T48" fmla="*/ 17 w 198"/>
                    <a:gd name="T49" fmla="*/ 38 h 245"/>
                    <a:gd name="T50" fmla="*/ 41 w 198"/>
                    <a:gd name="T51" fmla="*/ 65 h 245"/>
                    <a:gd name="T52" fmla="*/ 51 w 198"/>
                    <a:gd name="T53" fmla="*/ 54 h 245"/>
                    <a:gd name="T54" fmla="*/ 66 w 198"/>
                    <a:gd name="T55" fmla="*/ 42 h 245"/>
                    <a:gd name="T56" fmla="*/ 86 w 198"/>
                    <a:gd name="T57" fmla="*/ 44 h 245"/>
                    <a:gd name="T58" fmla="*/ 104 w 198"/>
                    <a:gd name="T59" fmla="*/ 50 h 245"/>
                    <a:gd name="T60" fmla="*/ 105 w 198"/>
                    <a:gd name="T61" fmla="*/ 29 h 245"/>
                    <a:gd name="T62" fmla="*/ 104 w 198"/>
                    <a:gd name="T63" fmla="*/ 12 h 245"/>
                    <a:gd name="T64" fmla="*/ 116 w 198"/>
                    <a:gd name="T65" fmla="*/ 0 h 245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0" t="0" r="r" b="b"/>
                  <a:pathLst>
                    <a:path w="198" h="245">
                      <a:moveTo>
                        <a:pt x="116" y="0"/>
                      </a:moveTo>
                      <a:cubicBezTo>
                        <a:pt x="128" y="6"/>
                        <a:pt x="137" y="12"/>
                        <a:pt x="152" y="15"/>
                      </a:cubicBezTo>
                      <a:cubicBezTo>
                        <a:pt x="153" y="22"/>
                        <a:pt x="151" y="23"/>
                        <a:pt x="144" y="24"/>
                      </a:cubicBezTo>
                      <a:cubicBezTo>
                        <a:pt x="149" y="37"/>
                        <a:pt x="164" y="37"/>
                        <a:pt x="176" y="39"/>
                      </a:cubicBezTo>
                      <a:cubicBezTo>
                        <a:pt x="181" y="42"/>
                        <a:pt x="185" y="43"/>
                        <a:pt x="188" y="48"/>
                      </a:cubicBezTo>
                      <a:cubicBezTo>
                        <a:pt x="186" y="69"/>
                        <a:pt x="189" y="72"/>
                        <a:pt x="174" y="81"/>
                      </a:cubicBezTo>
                      <a:cubicBezTo>
                        <a:pt x="168" y="92"/>
                        <a:pt x="179" y="94"/>
                        <a:pt x="188" y="96"/>
                      </a:cubicBezTo>
                      <a:cubicBezTo>
                        <a:pt x="189" y="105"/>
                        <a:pt x="190" y="115"/>
                        <a:pt x="194" y="123"/>
                      </a:cubicBezTo>
                      <a:cubicBezTo>
                        <a:pt x="195" y="128"/>
                        <a:pt x="197" y="132"/>
                        <a:pt x="198" y="137"/>
                      </a:cubicBezTo>
                      <a:cubicBezTo>
                        <a:pt x="194" y="142"/>
                        <a:pt x="192" y="143"/>
                        <a:pt x="186" y="144"/>
                      </a:cubicBezTo>
                      <a:cubicBezTo>
                        <a:pt x="179" y="148"/>
                        <a:pt x="172" y="146"/>
                        <a:pt x="165" y="150"/>
                      </a:cubicBezTo>
                      <a:cubicBezTo>
                        <a:pt x="163" y="158"/>
                        <a:pt x="162" y="167"/>
                        <a:pt x="159" y="174"/>
                      </a:cubicBezTo>
                      <a:cubicBezTo>
                        <a:pt x="156" y="189"/>
                        <a:pt x="160" y="203"/>
                        <a:pt x="150" y="216"/>
                      </a:cubicBezTo>
                      <a:cubicBezTo>
                        <a:pt x="149" y="222"/>
                        <a:pt x="149" y="224"/>
                        <a:pt x="143" y="227"/>
                      </a:cubicBezTo>
                      <a:cubicBezTo>
                        <a:pt x="139" y="232"/>
                        <a:pt x="132" y="236"/>
                        <a:pt x="126" y="237"/>
                      </a:cubicBezTo>
                      <a:cubicBezTo>
                        <a:pt x="110" y="245"/>
                        <a:pt x="108" y="232"/>
                        <a:pt x="98" y="225"/>
                      </a:cubicBezTo>
                      <a:cubicBezTo>
                        <a:pt x="85" y="227"/>
                        <a:pt x="83" y="232"/>
                        <a:pt x="72" y="234"/>
                      </a:cubicBezTo>
                      <a:cubicBezTo>
                        <a:pt x="61" y="240"/>
                        <a:pt x="60" y="226"/>
                        <a:pt x="51" y="224"/>
                      </a:cubicBezTo>
                      <a:cubicBezTo>
                        <a:pt x="40" y="218"/>
                        <a:pt x="43" y="222"/>
                        <a:pt x="39" y="215"/>
                      </a:cubicBezTo>
                      <a:cubicBezTo>
                        <a:pt x="39" y="201"/>
                        <a:pt x="48" y="155"/>
                        <a:pt x="27" y="143"/>
                      </a:cubicBezTo>
                      <a:cubicBezTo>
                        <a:pt x="22" y="137"/>
                        <a:pt x="18" y="137"/>
                        <a:pt x="17" y="129"/>
                      </a:cubicBezTo>
                      <a:cubicBezTo>
                        <a:pt x="16" y="111"/>
                        <a:pt x="18" y="92"/>
                        <a:pt x="2" y="80"/>
                      </a:cubicBezTo>
                      <a:cubicBezTo>
                        <a:pt x="7" y="76"/>
                        <a:pt x="9" y="74"/>
                        <a:pt x="6" y="68"/>
                      </a:cubicBezTo>
                      <a:cubicBezTo>
                        <a:pt x="12" y="54"/>
                        <a:pt x="6" y="47"/>
                        <a:pt x="0" y="35"/>
                      </a:cubicBezTo>
                      <a:cubicBezTo>
                        <a:pt x="4" y="20"/>
                        <a:pt x="12" y="30"/>
                        <a:pt x="17" y="38"/>
                      </a:cubicBezTo>
                      <a:cubicBezTo>
                        <a:pt x="19" y="52"/>
                        <a:pt x="28" y="60"/>
                        <a:pt x="41" y="65"/>
                      </a:cubicBezTo>
                      <a:cubicBezTo>
                        <a:pt x="48" y="62"/>
                        <a:pt x="50" y="62"/>
                        <a:pt x="51" y="54"/>
                      </a:cubicBezTo>
                      <a:cubicBezTo>
                        <a:pt x="43" y="43"/>
                        <a:pt x="58" y="44"/>
                        <a:pt x="66" y="42"/>
                      </a:cubicBezTo>
                      <a:cubicBezTo>
                        <a:pt x="76" y="46"/>
                        <a:pt x="76" y="46"/>
                        <a:pt x="86" y="44"/>
                      </a:cubicBezTo>
                      <a:cubicBezTo>
                        <a:pt x="95" y="45"/>
                        <a:pt x="97" y="46"/>
                        <a:pt x="104" y="50"/>
                      </a:cubicBezTo>
                      <a:cubicBezTo>
                        <a:pt x="115" y="46"/>
                        <a:pt x="109" y="37"/>
                        <a:pt x="105" y="29"/>
                      </a:cubicBezTo>
                      <a:cubicBezTo>
                        <a:pt x="104" y="23"/>
                        <a:pt x="101" y="18"/>
                        <a:pt x="104" y="12"/>
                      </a:cubicBezTo>
                      <a:cubicBezTo>
                        <a:pt x="106" y="8"/>
                        <a:pt x="116" y="1"/>
                        <a:pt x="116" y="0"/>
                      </a:cubicBezTo>
                      <a:close/>
                    </a:path>
                  </a:pathLst>
                </a:custGeom>
                <a:grpFill/>
                <a:ln w="317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defTabSz="77889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pic>
          <p:nvPicPr>
            <p:cNvPr id="224" name="Picture 2"/>
            <p:cNvPicPr>
              <a:picLocks noChangeAspect="1" noChangeArrowheads="1"/>
            </p:cNvPicPr>
            <p:nvPr/>
          </p:nvPicPr>
          <p:blipFill rotWithShape="1">
            <a:blip r:embed="rId14" cstate="screen">
              <a:duotone>
                <a:srgbClr val="008C95">
                  <a:shade val="45000"/>
                  <a:satMod val="135000"/>
                </a:srgb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ackgroundRemoval t="0" b="100000" l="0" r="100000"/>
                      </a14:imgEffect>
                      <a14:imgEffect>
                        <a14:sharpenSoften amount="50000"/>
                      </a14:imgEffect>
                      <a14:imgEffect>
                        <a14:colorTemperature colorTemp="2100"/>
                      </a14:imgEffect>
                      <a14:imgEffect>
                        <a14:saturation sat="150000"/>
                      </a14:imgEffect>
                      <a14:imgEffect>
                        <a14:brightnessContrast bright="17000" contrast="-2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 rot="3707339">
              <a:off x="255007" y="4420576"/>
              <a:ext cx="487981" cy="27357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42" name="TextBox 341"/>
          <p:cNvSpPr txBox="1"/>
          <p:nvPr/>
        </p:nvSpPr>
        <p:spPr>
          <a:xfrm>
            <a:off x="3038534" y="2371926"/>
            <a:ext cx="146502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77889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Российская Федерация</a:t>
            </a:r>
          </a:p>
        </p:txBody>
      </p:sp>
      <p:sp>
        <p:nvSpPr>
          <p:cNvPr id="343" name="TextBox 342"/>
          <p:cNvSpPr txBox="1"/>
          <p:nvPr/>
        </p:nvSpPr>
        <p:spPr>
          <a:xfrm>
            <a:off x="5442456" y="2173728"/>
            <a:ext cx="78782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77889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Europe</a:t>
            </a:r>
            <a:endParaRPr kumimoji="0" lang="ru-RU" sz="7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pic>
        <p:nvPicPr>
          <p:cNvPr id="344" name="Picture 7"/>
          <p:cNvPicPr>
            <a:picLocks noChangeAspect="1" noChangeArrowheads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342" t="28513" r="13844" b="24013"/>
          <a:stretch/>
        </p:blipFill>
        <p:spPr bwMode="auto">
          <a:xfrm>
            <a:off x="7630082" y="2855739"/>
            <a:ext cx="1424369" cy="657277"/>
          </a:xfrm>
          <a:prstGeom prst="rect">
            <a:avLst/>
          </a:prstGeom>
          <a:noFill/>
          <a:ln w="9525">
            <a:solidFill>
              <a:sysClr val="window" lastClr="FFFFFF">
                <a:lumMod val="65000"/>
              </a:sys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45" name="Picture 11"/>
          <p:cNvPicPr>
            <a:picLocks noChangeAspect="1" noChangeArrowheads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655" t="21228" r="18262" b="33474"/>
          <a:stretch/>
        </p:blipFill>
        <p:spPr bwMode="auto">
          <a:xfrm>
            <a:off x="58520" y="1911799"/>
            <a:ext cx="1433471" cy="645078"/>
          </a:xfrm>
          <a:prstGeom prst="rect">
            <a:avLst/>
          </a:prstGeom>
          <a:noFill/>
          <a:ln w="9525">
            <a:solidFill>
              <a:sysClr val="window" lastClr="FFFFFF">
                <a:lumMod val="65000"/>
              </a:sys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46" name="Picture 13"/>
          <p:cNvPicPr>
            <a:picLocks noChangeAspect="1" noChangeArrowheads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838" t="32791" r="16999" b="27853"/>
          <a:stretch/>
        </p:blipFill>
        <p:spPr bwMode="auto">
          <a:xfrm>
            <a:off x="1334947" y="3003278"/>
            <a:ext cx="1182013" cy="689863"/>
          </a:xfrm>
          <a:prstGeom prst="rect">
            <a:avLst/>
          </a:prstGeom>
          <a:noFill/>
          <a:ln w="9525">
            <a:solidFill>
              <a:sysClr val="window" lastClr="FFFFFF">
                <a:lumMod val="65000"/>
              </a:sys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347" name="TextBox 346"/>
          <p:cNvSpPr txBox="1"/>
          <p:nvPr/>
        </p:nvSpPr>
        <p:spPr>
          <a:xfrm>
            <a:off x="2755546" y="3940542"/>
            <a:ext cx="3578224" cy="6232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77889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Степени соответствия стандартов:</a:t>
            </a:r>
          </a:p>
          <a:p>
            <a:pPr marL="171450" marR="0" lvl="0" indent="-171450" defTabSz="77889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IDT — для идентичных межгосударственных стандартов;</a:t>
            </a:r>
          </a:p>
          <a:p>
            <a:pPr marL="171450" marR="0" lvl="0" indent="-171450" defTabSz="77889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MOD — для модифицированных межгосударственных стандартов;</a:t>
            </a:r>
          </a:p>
          <a:p>
            <a:pPr marL="171450" marR="0" lvl="0" indent="-171450" defTabSz="77889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NEQ — для неэквивалентных межгосударственных стандартов.</a:t>
            </a:r>
          </a:p>
        </p:txBody>
      </p:sp>
      <p:sp>
        <p:nvSpPr>
          <p:cNvPr id="348" name="TextBox 347"/>
          <p:cNvSpPr txBox="1"/>
          <p:nvPr/>
        </p:nvSpPr>
        <p:spPr>
          <a:xfrm>
            <a:off x="359330" y="348192"/>
            <a:ext cx="8288457" cy="3539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fontAlgn="base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37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875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14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752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sz="2000" dirty="0" smtClean="0"/>
              <a:t>Какие стандарты существуют?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1912179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Объект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625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7" name="Объект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Номер слайда 2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169" name="Moon 179"/>
          <p:cNvSpPr/>
          <p:nvPr/>
        </p:nvSpPr>
        <p:spPr bwMode="auto">
          <a:xfrm rot="9900000">
            <a:off x="2331077" y="907960"/>
            <a:ext cx="1541942" cy="3494174"/>
          </a:xfrm>
          <a:prstGeom prst="moon">
            <a:avLst>
              <a:gd name="adj" fmla="val 4706"/>
            </a:avLst>
          </a:prstGeom>
          <a:gradFill>
            <a:gsLst>
              <a:gs pos="65000">
                <a:schemeClr val="bg1"/>
              </a:gs>
              <a:gs pos="0">
                <a:schemeClr val="accent5">
                  <a:lumMod val="75000"/>
                </a:schemeClr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3652718" y="846920"/>
            <a:ext cx="4805210" cy="402234"/>
            <a:chOff x="3970171" y="1024320"/>
            <a:chExt cx="4805210" cy="402234"/>
          </a:xfrm>
        </p:grpSpPr>
        <p:sp>
          <p:nvSpPr>
            <p:cNvPr id="170" name="TextBox 169"/>
            <p:cNvSpPr txBox="1"/>
            <p:nvPr/>
          </p:nvSpPr>
          <p:spPr>
            <a:xfrm>
              <a:off x="4219171" y="1024320"/>
              <a:ext cx="4466374" cy="349836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noAutofit/>
            </a:bodyPr>
            <a:lstStyle>
              <a:defPPr>
                <a:defRPr lang="ru-RU"/>
              </a:defPPr>
              <a:lvl1pPr algn="ctr">
                <a:defRPr sz="1000"/>
              </a:lvl1pPr>
            </a:lstStyle>
            <a:p>
              <a:pPr algn="just"/>
              <a:r>
                <a:rPr lang="ru-RU" dirty="0" smtClean="0">
                  <a:solidFill>
                    <a:srgbClr val="4D4D4D"/>
                  </a:solidFill>
                </a:rPr>
                <a:t>Вводная часть – сущность метода, область применения, требования безопасности, термины и определения</a:t>
              </a:r>
              <a:endParaRPr lang="ru-RU" dirty="0">
                <a:solidFill>
                  <a:srgbClr val="4D4D4D"/>
                </a:solidFill>
              </a:endParaRPr>
            </a:p>
          </p:txBody>
        </p:sp>
        <p:cxnSp>
          <p:nvCxnSpPr>
            <p:cNvPr id="171" name="Прямая соединительная линия 27"/>
            <p:cNvCxnSpPr/>
            <p:nvPr/>
          </p:nvCxnSpPr>
          <p:spPr bwMode="auto">
            <a:xfrm flipH="1" flipV="1">
              <a:off x="3970171" y="1397946"/>
              <a:ext cx="4805210" cy="2860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oval" w="sm" len="sm"/>
              <a:tailEnd type="oval" w="lg" len="lg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72" name="Group 4"/>
          <p:cNvGrpSpPr/>
          <p:nvPr/>
        </p:nvGrpSpPr>
        <p:grpSpPr>
          <a:xfrm>
            <a:off x="4483289" y="1894591"/>
            <a:ext cx="3701707" cy="453887"/>
            <a:chOff x="4330924" y="2150859"/>
            <a:chExt cx="3640388" cy="453887"/>
          </a:xfrm>
        </p:grpSpPr>
        <p:sp>
          <p:nvSpPr>
            <p:cNvPr id="173" name="TextBox 172"/>
            <p:cNvSpPr txBox="1"/>
            <p:nvPr/>
          </p:nvSpPr>
          <p:spPr>
            <a:xfrm>
              <a:off x="4553691" y="2150859"/>
              <a:ext cx="3417621" cy="453887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noAutofit/>
            </a:bodyPr>
            <a:lstStyle>
              <a:defPPr>
                <a:defRPr lang="ru-RU"/>
              </a:defPPr>
              <a:lvl1pPr algn="ctr">
                <a:defRPr sz="1000"/>
              </a:lvl1pPr>
            </a:lstStyle>
            <a:p>
              <a:pPr algn="just"/>
              <a:r>
                <a:rPr lang="ru-RU" dirty="0" smtClean="0">
                  <a:solidFill>
                    <a:srgbClr val="4D4D4D"/>
                  </a:solidFill>
                </a:rPr>
                <a:t>Требования к средствам измерения, аппаратуре, материалам, реактивам, вспомогательным устройствам</a:t>
              </a:r>
              <a:endParaRPr lang="ru-RU" dirty="0">
                <a:solidFill>
                  <a:srgbClr val="4D4D4D"/>
                </a:solidFill>
              </a:endParaRPr>
            </a:p>
          </p:txBody>
        </p:sp>
        <p:cxnSp>
          <p:nvCxnSpPr>
            <p:cNvPr id="174" name="Прямая соединительная линия 27"/>
            <p:cNvCxnSpPr/>
            <p:nvPr/>
          </p:nvCxnSpPr>
          <p:spPr bwMode="auto">
            <a:xfrm flipH="1" flipV="1">
              <a:off x="4330924" y="2548386"/>
              <a:ext cx="3608732" cy="5693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oval" w="sm" len="sm"/>
              <a:tailEnd type="oval" w="lg" len="lg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75" name="Group 3"/>
          <p:cNvGrpSpPr/>
          <p:nvPr/>
        </p:nvGrpSpPr>
        <p:grpSpPr>
          <a:xfrm>
            <a:off x="4210880" y="1452746"/>
            <a:ext cx="4306858" cy="363956"/>
            <a:chOff x="4655605" y="3622172"/>
            <a:chExt cx="4306858" cy="363956"/>
          </a:xfrm>
        </p:grpSpPr>
        <p:sp>
          <p:nvSpPr>
            <p:cNvPr id="176" name="TextBox 175"/>
            <p:cNvSpPr txBox="1"/>
            <p:nvPr/>
          </p:nvSpPr>
          <p:spPr>
            <a:xfrm>
              <a:off x="5286198" y="3622172"/>
              <a:ext cx="3676265" cy="363956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noAutofit/>
            </a:bodyPr>
            <a:lstStyle>
              <a:defPPr>
                <a:defRPr lang="ru-RU"/>
              </a:defPPr>
              <a:lvl1pPr algn="ctr">
                <a:defRPr sz="1000"/>
              </a:lvl1pPr>
            </a:lstStyle>
            <a:p>
              <a:pPr algn="l"/>
              <a:r>
                <a:rPr lang="ru-RU" dirty="0" smtClean="0">
                  <a:solidFill>
                    <a:srgbClr val="4D4D4D"/>
                  </a:solidFill>
                </a:rPr>
                <a:t>Требования к условиям, при которых проводится испытание</a:t>
              </a:r>
              <a:endParaRPr lang="ru-RU" dirty="0">
                <a:solidFill>
                  <a:srgbClr val="4D4D4D"/>
                </a:solidFill>
              </a:endParaRPr>
            </a:p>
          </p:txBody>
        </p:sp>
        <p:cxnSp>
          <p:nvCxnSpPr>
            <p:cNvPr id="177" name="Прямая соединительная линия 27"/>
            <p:cNvCxnSpPr/>
            <p:nvPr/>
          </p:nvCxnSpPr>
          <p:spPr bwMode="auto">
            <a:xfrm flipH="1" flipV="1">
              <a:off x="4655605" y="3874103"/>
              <a:ext cx="4306858" cy="20702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oval" w="sm" len="sm"/>
              <a:tailEnd type="oval" w="lg" len="lg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78" name="Group 1"/>
          <p:cNvGrpSpPr/>
          <p:nvPr/>
        </p:nvGrpSpPr>
        <p:grpSpPr>
          <a:xfrm>
            <a:off x="4553097" y="2556339"/>
            <a:ext cx="3694483" cy="271538"/>
            <a:chOff x="4073326" y="4390330"/>
            <a:chExt cx="4423895" cy="271538"/>
          </a:xfrm>
        </p:grpSpPr>
        <p:sp>
          <p:nvSpPr>
            <p:cNvPr id="179" name="TextBox 178"/>
            <p:cNvSpPr txBox="1"/>
            <p:nvPr/>
          </p:nvSpPr>
          <p:spPr>
            <a:xfrm>
              <a:off x="4941289" y="4390330"/>
              <a:ext cx="3457724" cy="271538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noAutofit/>
            </a:bodyPr>
            <a:lstStyle>
              <a:defPPr>
                <a:defRPr lang="ru-RU"/>
              </a:defPPr>
              <a:lvl1pPr algn="ctr">
                <a:defRPr sz="1000"/>
              </a:lvl1pPr>
            </a:lstStyle>
            <a:p>
              <a:pPr algn="just"/>
              <a:r>
                <a:rPr lang="ru-RU" dirty="0" smtClean="0">
                  <a:solidFill>
                    <a:srgbClr val="4D4D4D"/>
                  </a:solidFill>
                </a:rPr>
                <a:t>Порядок подготовки к проведению измерения</a:t>
              </a:r>
              <a:endParaRPr lang="ru-RU" dirty="0">
                <a:solidFill>
                  <a:srgbClr val="4D4D4D"/>
                </a:solidFill>
              </a:endParaRPr>
            </a:p>
          </p:txBody>
        </p:sp>
        <p:cxnSp>
          <p:nvCxnSpPr>
            <p:cNvPr id="180" name="Прямая соединительная линия 27"/>
            <p:cNvCxnSpPr/>
            <p:nvPr/>
          </p:nvCxnSpPr>
          <p:spPr bwMode="auto">
            <a:xfrm flipH="1" flipV="1">
              <a:off x="4073326" y="4628356"/>
              <a:ext cx="4423895" cy="17111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oval" w="sm" len="sm"/>
              <a:tailEnd type="oval" w="lg" len="lg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81" name="TextBox 180"/>
          <p:cNvSpPr txBox="1"/>
          <p:nvPr/>
        </p:nvSpPr>
        <p:spPr>
          <a:xfrm>
            <a:off x="360349" y="345880"/>
            <a:ext cx="8639033" cy="3539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fontAlgn="base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37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875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14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752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sz="2000" dirty="0" smtClean="0"/>
              <a:t>Структура стандарта</a:t>
            </a:r>
            <a:endParaRPr lang="ru-RU" sz="2000" dirty="0"/>
          </a:p>
        </p:txBody>
      </p:sp>
      <p:grpSp>
        <p:nvGrpSpPr>
          <p:cNvPr id="182" name="Group 3"/>
          <p:cNvGrpSpPr/>
          <p:nvPr/>
        </p:nvGrpSpPr>
        <p:grpSpPr>
          <a:xfrm>
            <a:off x="4483152" y="3044412"/>
            <a:ext cx="3504206" cy="274279"/>
            <a:chOff x="4581880" y="3627948"/>
            <a:chExt cx="3960000" cy="348514"/>
          </a:xfrm>
        </p:grpSpPr>
        <p:sp>
          <p:nvSpPr>
            <p:cNvPr id="183" name="TextBox 182"/>
            <p:cNvSpPr txBox="1"/>
            <p:nvPr/>
          </p:nvSpPr>
          <p:spPr>
            <a:xfrm>
              <a:off x="5491419" y="3627948"/>
              <a:ext cx="2968445" cy="345899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noAutofit/>
            </a:bodyPr>
            <a:lstStyle>
              <a:defPPr>
                <a:defRPr lang="ru-RU"/>
              </a:defPPr>
              <a:lvl1pPr algn="ctr">
                <a:defRPr sz="1000"/>
              </a:lvl1pPr>
            </a:lstStyle>
            <a:p>
              <a:pPr algn="just"/>
              <a:r>
                <a:rPr lang="ru-RU" dirty="0" smtClean="0">
                  <a:solidFill>
                    <a:srgbClr val="4D4D4D"/>
                  </a:solidFill>
                </a:rPr>
                <a:t>Порядок проведения измерения</a:t>
              </a:r>
              <a:endParaRPr lang="ru-RU" dirty="0">
                <a:solidFill>
                  <a:srgbClr val="4D4D4D"/>
                </a:solidFill>
              </a:endParaRPr>
            </a:p>
          </p:txBody>
        </p:sp>
        <p:cxnSp>
          <p:nvCxnSpPr>
            <p:cNvPr id="349" name="Прямая соединительная линия 27"/>
            <p:cNvCxnSpPr/>
            <p:nvPr/>
          </p:nvCxnSpPr>
          <p:spPr bwMode="auto">
            <a:xfrm flipH="1">
              <a:off x="4581880" y="3976462"/>
              <a:ext cx="3960000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oval" w="sm" len="sm"/>
              <a:tailEnd type="oval" w="lg" len="lg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50" name="Group 3"/>
          <p:cNvGrpSpPr/>
          <p:nvPr/>
        </p:nvGrpSpPr>
        <p:grpSpPr>
          <a:xfrm>
            <a:off x="4283643" y="3488569"/>
            <a:ext cx="3702523" cy="348514"/>
            <a:chOff x="4581880" y="3722770"/>
            <a:chExt cx="3960000" cy="348514"/>
          </a:xfrm>
        </p:grpSpPr>
        <p:sp>
          <p:nvSpPr>
            <p:cNvPr id="351" name="TextBox 350"/>
            <p:cNvSpPr txBox="1"/>
            <p:nvPr/>
          </p:nvSpPr>
          <p:spPr>
            <a:xfrm>
              <a:off x="5549375" y="3722770"/>
              <a:ext cx="2968445" cy="348514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noAutofit/>
            </a:bodyPr>
            <a:lstStyle>
              <a:defPPr>
                <a:defRPr lang="ru-RU"/>
              </a:defPPr>
              <a:lvl1pPr algn="ctr">
                <a:defRPr sz="1000"/>
              </a:lvl1pPr>
            </a:lstStyle>
            <a:p>
              <a:pPr algn="just"/>
              <a:r>
                <a:rPr lang="ru-RU" dirty="0" smtClean="0">
                  <a:solidFill>
                    <a:srgbClr val="4D4D4D"/>
                  </a:solidFill>
                </a:rPr>
                <a:t>Правила обработки результатов испытаний</a:t>
              </a:r>
              <a:endParaRPr lang="ru-RU" dirty="0">
                <a:solidFill>
                  <a:srgbClr val="4D4D4D"/>
                </a:solidFill>
              </a:endParaRPr>
            </a:p>
          </p:txBody>
        </p:sp>
        <p:cxnSp>
          <p:nvCxnSpPr>
            <p:cNvPr id="352" name="Прямая соединительная линия 27"/>
            <p:cNvCxnSpPr/>
            <p:nvPr/>
          </p:nvCxnSpPr>
          <p:spPr bwMode="auto">
            <a:xfrm flipH="1">
              <a:off x="4581880" y="3976462"/>
              <a:ext cx="3960000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oval" w="sm" len="sm"/>
              <a:tailEnd type="oval" w="lg" len="lg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53" name="Group 3"/>
          <p:cNvGrpSpPr/>
          <p:nvPr/>
        </p:nvGrpSpPr>
        <p:grpSpPr>
          <a:xfrm>
            <a:off x="3923098" y="3925159"/>
            <a:ext cx="4042016" cy="248910"/>
            <a:chOff x="4685314" y="3588481"/>
            <a:chExt cx="3960000" cy="276148"/>
          </a:xfrm>
        </p:grpSpPr>
        <p:sp>
          <p:nvSpPr>
            <p:cNvPr id="354" name="TextBox 353"/>
            <p:cNvSpPr txBox="1"/>
            <p:nvPr/>
          </p:nvSpPr>
          <p:spPr>
            <a:xfrm>
              <a:off x="5616832" y="3588481"/>
              <a:ext cx="2968445" cy="23668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noAutofit/>
            </a:bodyPr>
            <a:lstStyle>
              <a:defPPr>
                <a:defRPr lang="ru-RU"/>
              </a:defPPr>
              <a:lvl1pPr algn="ctr">
                <a:defRPr sz="1000"/>
              </a:lvl1pPr>
            </a:lstStyle>
            <a:p>
              <a:pPr algn="just"/>
              <a:r>
                <a:rPr lang="ru-RU" dirty="0" smtClean="0">
                  <a:solidFill>
                    <a:srgbClr val="4D4D4D"/>
                  </a:solidFill>
                </a:rPr>
                <a:t>Правила оформления результатов испытаний</a:t>
              </a:r>
              <a:endParaRPr lang="ru-RU" dirty="0">
                <a:solidFill>
                  <a:srgbClr val="4D4D4D"/>
                </a:solidFill>
              </a:endParaRPr>
            </a:p>
          </p:txBody>
        </p:sp>
        <p:cxnSp>
          <p:nvCxnSpPr>
            <p:cNvPr id="355" name="Прямая соединительная линия 27"/>
            <p:cNvCxnSpPr/>
            <p:nvPr/>
          </p:nvCxnSpPr>
          <p:spPr bwMode="auto">
            <a:xfrm flipH="1">
              <a:off x="4685314" y="3864629"/>
              <a:ext cx="3960000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oval" w="sm" len="sm"/>
              <a:tailEnd type="oval" w="lg" len="lg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56" name="Group 3"/>
          <p:cNvGrpSpPr/>
          <p:nvPr/>
        </p:nvGrpSpPr>
        <p:grpSpPr>
          <a:xfrm>
            <a:off x="3334953" y="4293175"/>
            <a:ext cx="4680566" cy="339922"/>
            <a:chOff x="4581880" y="3724498"/>
            <a:chExt cx="4563507" cy="339922"/>
          </a:xfrm>
        </p:grpSpPr>
        <p:sp>
          <p:nvSpPr>
            <p:cNvPr id="357" name="TextBox 356"/>
            <p:cNvSpPr txBox="1"/>
            <p:nvPr/>
          </p:nvSpPr>
          <p:spPr>
            <a:xfrm>
              <a:off x="6176942" y="3724498"/>
              <a:ext cx="2968445" cy="339922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noAutofit/>
            </a:bodyPr>
            <a:lstStyle>
              <a:defPPr>
                <a:defRPr lang="ru-RU"/>
              </a:defPPr>
              <a:lvl1pPr algn="ctr">
                <a:defRPr sz="1000"/>
              </a:lvl1pPr>
            </a:lstStyle>
            <a:p>
              <a:pPr algn="just"/>
              <a:r>
                <a:rPr lang="ru-RU" dirty="0" err="1" smtClean="0">
                  <a:solidFill>
                    <a:srgbClr val="4D4D4D"/>
                  </a:solidFill>
                </a:rPr>
                <a:t>Прецизионность</a:t>
              </a:r>
              <a:r>
                <a:rPr lang="ru-RU" dirty="0" smtClean="0">
                  <a:solidFill>
                    <a:srgbClr val="4D4D4D"/>
                  </a:solidFill>
                </a:rPr>
                <a:t> метода контроля</a:t>
              </a:r>
              <a:endParaRPr lang="ru-RU" dirty="0">
                <a:solidFill>
                  <a:srgbClr val="4D4D4D"/>
                </a:solidFill>
              </a:endParaRPr>
            </a:p>
          </p:txBody>
        </p:sp>
        <p:cxnSp>
          <p:nvCxnSpPr>
            <p:cNvPr id="358" name="Прямая соединительная линия 27"/>
            <p:cNvCxnSpPr/>
            <p:nvPr/>
          </p:nvCxnSpPr>
          <p:spPr bwMode="auto">
            <a:xfrm flipH="1">
              <a:off x="4581880" y="3976462"/>
              <a:ext cx="3960000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oval" w="sm" len="sm"/>
              <a:tailEnd type="oval" w="lg" len="lg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59" name="Рисунок 358"/>
          <p:cNvPicPr>
            <a:picLocks noChangeAspect="1"/>
          </p:cNvPicPr>
          <p:nvPr/>
        </p:nvPicPr>
        <p:blipFill rotWithShape="1">
          <a:blip r:embed="rId6"/>
          <a:srcRect l="44111" t="16354" r="24000" b="37028"/>
          <a:stretch/>
        </p:blipFill>
        <p:spPr>
          <a:xfrm>
            <a:off x="129557" y="1449737"/>
            <a:ext cx="3506227" cy="2883257"/>
          </a:xfrm>
          <a:prstGeom prst="ellipse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</p:pic>
    </p:spTree>
    <p:extLst>
      <p:ext uri="{BB962C8B-B14F-4D97-AF65-F5344CB8AC3E}">
        <p14:creationId xmlns:p14="http://schemas.microsoft.com/office/powerpoint/2010/main" val="1841656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280251"/>
            <a:ext cx="6933411" cy="1412694"/>
          </a:xfrm>
        </p:spPr>
        <p:txBody>
          <a:bodyPr/>
          <a:lstStyle/>
          <a:p>
            <a:r>
              <a:rPr lang="ru-RU" dirty="0"/>
              <a:t>Термический анализ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0753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Прямоугольник 44"/>
          <p:cNvSpPr/>
          <p:nvPr/>
        </p:nvSpPr>
        <p:spPr bwMode="auto">
          <a:xfrm>
            <a:off x="365840" y="1488094"/>
            <a:ext cx="8417782" cy="3063268"/>
          </a:xfrm>
          <a:prstGeom prst="rect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17" name="Объект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830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7" name="Объект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Номер слайда 2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365840" y="346346"/>
            <a:ext cx="8288457" cy="558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fontAlgn="base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37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875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14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752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sz="1800" dirty="0" smtClean="0"/>
              <a:t>Дифференциальная сканирующая калориметрия</a:t>
            </a:r>
          </a:p>
          <a:p>
            <a:r>
              <a:rPr lang="ru-RU" sz="1800" dirty="0"/>
              <a:t>ГОСТ Р </a:t>
            </a:r>
            <a:r>
              <a:rPr lang="ru-RU" sz="1800" dirty="0" smtClean="0"/>
              <a:t>56724-2015, </a:t>
            </a:r>
            <a:r>
              <a:rPr lang="ru-RU" sz="1800" dirty="0"/>
              <a:t>ГОСТ Р </a:t>
            </a:r>
            <a:r>
              <a:rPr lang="ru-RU" sz="1800" dirty="0" smtClean="0"/>
              <a:t>56756-2015, ГОСТ </a:t>
            </a:r>
            <a:r>
              <a:rPr lang="ru-RU" sz="1800" dirty="0"/>
              <a:t>Р </a:t>
            </a:r>
            <a:r>
              <a:rPr lang="ru-RU" sz="1800" dirty="0" smtClean="0"/>
              <a:t>55135-2012,</a:t>
            </a:r>
            <a:br>
              <a:rPr lang="ru-RU" sz="1800" dirty="0" smtClean="0"/>
            </a:br>
            <a:r>
              <a:rPr lang="en-US" sz="1800" dirty="0" smtClean="0"/>
              <a:t>ISO 11357-3</a:t>
            </a:r>
            <a:r>
              <a:rPr lang="ru-RU" sz="1800" dirty="0" smtClean="0"/>
              <a:t>-2018</a:t>
            </a:r>
            <a:r>
              <a:rPr lang="en-US" sz="1800" dirty="0" smtClean="0"/>
              <a:t>, ISO 11357-2</a:t>
            </a:r>
            <a:r>
              <a:rPr lang="ru-RU" sz="1800" dirty="0" smtClean="0"/>
              <a:t>-2020, </a:t>
            </a:r>
            <a:r>
              <a:rPr lang="en-US" sz="1800" dirty="0"/>
              <a:t>ISO </a:t>
            </a:r>
            <a:r>
              <a:rPr lang="en-US" sz="1800" dirty="0" smtClean="0"/>
              <a:t>11357-6</a:t>
            </a:r>
            <a:r>
              <a:rPr lang="ru-RU" sz="1800" dirty="0" smtClean="0"/>
              <a:t>-2018, </a:t>
            </a:r>
            <a:r>
              <a:rPr lang="en-US" sz="1800" dirty="0" smtClean="0"/>
              <a:t>ASTM D</a:t>
            </a:r>
            <a:r>
              <a:rPr lang="ru-RU" sz="1800" dirty="0" smtClean="0"/>
              <a:t>3418-2021, </a:t>
            </a:r>
            <a:r>
              <a:rPr lang="en-US" sz="1800" dirty="0" smtClean="0"/>
              <a:t>ASTM D</a:t>
            </a:r>
            <a:r>
              <a:rPr lang="ru-RU" sz="1800" dirty="0" smtClean="0"/>
              <a:t>3895-2019</a:t>
            </a:r>
            <a:endParaRPr lang="ru-RU" sz="18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363322" y="1488094"/>
            <a:ext cx="6014452" cy="1231106"/>
          </a:xfrm>
          <a:prstGeom prst="rect">
            <a:avLst/>
          </a:prstGeom>
          <a:ln w="19050">
            <a:noFill/>
            <a:prstDash val="dash"/>
          </a:ln>
        </p:spPr>
        <p:txBody>
          <a:bodyPr wrap="square">
            <a:spAutoFit/>
          </a:bodyPr>
          <a:lstStyle/>
          <a:p>
            <a:pPr algn="just"/>
            <a:r>
              <a:rPr lang="ru-RU" sz="1400" b="1" dirty="0" smtClean="0"/>
              <a:t>Сущность метода</a:t>
            </a:r>
            <a:endParaRPr lang="ru-RU" sz="1400" b="1" dirty="0"/>
          </a:p>
          <a:p>
            <a:pPr defTabSz="779025">
              <a:defRPr/>
            </a:pPr>
            <a:r>
              <a:rPr lang="ru-RU" sz="1000" dirty="0" smtClean="0"/>
              <a:t>Когда </a:t>
            </a:r>
            <a:r>
              <a:rPr lang="ru-RU" sz="1000" dirty="0"/>
              <a:t>в образце происходят изменения, связанные с поглощением или выделением тепла, сенсоры регистрируют и измеряют их, на кривых ДСК наблюдаются отклонения в виде экзо- и эндотермических пиков или ступеней и образуется динамическая или изотермическая  дифференциальная кривая теплового </a:t>
            </a:r>
            <a:r>
              <a:rPr lang="ru-RU" sz="1000" dirty="0" smtClean="0"/>
              <a:t>потока.</a:t>
            </a:r>
            <a:endParaRPr lang="en-US" sz="1000" dirty="0" smtClean="0"/>
          </a:p>
          <a:p>
            <a:pPr defTabSz="779025">
              <a:defRPr/>
            </a:pPr>
            <a:r>
              <a:rPr lang="ru-RU" sz="1000" b="1" dirty="0"/>
              <a:t>Время окислительной индукции </a:t>
            </a:r>
            <a:r>
              <a:rPr lang="ru-RU" sz="1000" dirty="0"/>
              <a:t>(ВОИ) – время между началом подачи кислорода или воздуха и началом реакции окисления</a:t>
            </a:r>
            <a:r>
              <a:rPr lang="ru-RU" sz="900" dirty="0" smtClean="0"/>
              <a:t>.</a:t>
            </a:r>
            <a:endParaRPr lang="ru-RU" sz="1000" dirty="0"/>
          </a:p>
        </p:txBody>
      </p:sp>
      <p:grpSp>
        <p:nvGrpSpPr>
          <p:cNvPr id="10" name="Группа 9"/>
          <p:cNvGrpSpPr/>
          <p:nvPr/>
        </p:nvGrpSpPr>
        <p:grpSpPr>
          <a:xfrm>
            <a:off x="6187362" y="3402308"/>
            <a:ext cx="2707050" cy="1149322"/>
            <a:chOff x="2299475" y="1376485"/>
            <a:chExt cx="4868799" cy="2804160"/>
          </a:xfrm>
        </p:grpSpPr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11760" y="1376485"/>
              <a:ext cx="4572000" cy="2804160"/>
            </a:xfrm>
            <a:prstGeom prst="rect">
              <a:avLst/>
            </a:prstGeom>
          </p:spPr>
        </p:pic>
        <p:grpSp>
          <p:nvGrpSpPr>
            <p:cNvPr id="12" name="Группа 11"/>
            <p:cNvGrpSpPr/>
            <p:nvPr/>
          </p:nvGrpSpPr>
          <p:grpSpPr>
            <a:xfrm>
              <a:off x="2411760" y="2086181"/>
              <a:ext cx="946840" cy="461530"/>
              <a:chOff x="-1415400" y="1995686"/>
              <a:chExt cx="946840" cy="461530"/>
            </a:xfrm>
          </p:grpSpPr>
          <p:pic>
            <p:nvPicPr>
              <p:cNvPr id="20" name="Рисунок 19"/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213" b="90374"/>
              <a:stretch/>
            </p:blipFill>
            <p:spPr>
              <a:xfrm>
                <a:off x="-1332655" y="1995686"/>
                <a:ext cx="792088" cy="432048"/>
              </a:xfrm>
              <a:prstGeom prst="rect">
                <a:avLst/>
              </a:prstGeom>
            </p:spPr>
          </p:pic>
          <p:sp>
            <p:nvSpPr>
              <p:cNvPr id="21" name="TextBox 20"/>
              <p:cNvSpPr txBox="1"/>
              <p:nvPr/>
            </p:nvSpPr>
            <p:spPr>
              <a:xfrm>
                <a:off x="-1415400" y="2011693"/>
                <a:ext cx="946840" cy="44552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050" b="1" dirty="0" smtClean="0">
                    <a:solidFill>
                      <a:schemeClr val="accent6">
                        <a:lumMod val="50000"/>
                      </a:schemeClr>
                    </a:solidFill>
                  </a:rPr>
                  <a:t>Печь</a:t>
                </a:r>
                <a:endParaRPr lang="ru-RU" sz="1050" b="1" dirty="0">
                  <a:solidFill>
                    <a:schemeClr val="accent6">
                      <a:lumMod val="50000"/>
                    </a:schemeClr>
                  </a:solidFill>
                </a:endParaRPr>
              </a:p>
            </p:txBody>
          </p:sp>
        </p:grpSp>
        <p:grpSp>
          <p:nvGrpSpPr>
            <p:cNvPr id="13" name="Группа 12"/>
            <p:cNvGrpSpPr/>
            <p:nvPr/>
          </p:nvGrpSpPr>
          <p:grpSpPr>
            <a:xfrm>
              <a:off x="6104110" y="2545434"/>
              <a:ext cx="1064164" cy="432048"/>
              <a:chOff x="-1348210" y="1995686"/>
              <a:chExt cx="1064164" cy="432048"/>
            </a:xfrm>
          </p:grpSpPr>
          <p:pic>
            <p:nvPicPr>
              <p:cNvPr id="18" name="Рисунок 17"/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213" b="90374"/>
              <a:stretch/>
            </p:blipFill>
            <p:spPr>
              <a:xfrm>
                <a:off x="-1332655" y="1995686"/>
                <a:ext cx="792088" cy="432048"/>
              </a:xfrm>
              <a:prstGeom prst="rect">
                <a:avLst/>
              </a:prstGeom>
            </p:spPr>
          </p:pic>
          <p:sp>
            <p:nvSpPr>
              <p:cNvPr id="19" name="TextBox 18"/>
              <p:cNvSpPr txBox="1"/>
              <p:nvPr/>
            </p:nvSpPr>
            <p:spPr>
              <a:xfrm>
                <a:off x="-1348210" y="2011693"/>
                <a:ext cx="1064164" cy="35101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700" dirty="0" smtClean="0"/>
                  <a:t>Образец</a:t>
                </a:r>
                <a:endParaRPr lang="ru-RU" sz="700" dirty="0"/>
              </a:p>
            </p:txBody>
          </p:sp>
        </p:grpSp>
        <p:grpSp>
          <p:nvGrpSpPr>
            <p:cNvPr id="14" name="Группа 13"/>
            <p:cNvGrpSpPr/>
            <p:nvPr/>
          </p:nvGrpSpPr>
          <p:grpSpPr>
            <a:xfrm>
              <a:off x="2299475" y="2697834"/>
              <a:ext cx="1145550" cy="556035"/>
              <a:chOff x="-1614110" y="1995686"/>
              <a:chExt cx="1145550" cy="556035"/>
            </a:xfrm>
          </p:grpSpPr>
          <p:pic>
            <p:nvPicPr>
              <p:cNvPr id="15" name="Рисунок 14"/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213" b="90374"/>
              <a:stretch/>
            </p:blipFill>
            <p:spPr>
              <a:xfrm>
                <a:off x="-1332655" y="1995686"/>
                <a:ext cx="792088" cy="432048"/>
              </a:xfrm>
              <a:prstGeom prst="rect">
                <a:avLst/>
              </a:prstGeom>
            </p:spPr>
          </p:pic>
          <p:sp>
            <p:nvSpPr>
              <p:cNvPr id="16" name="TextBox 15"/>
              <p:cNvSpPr txBox="1"/>
              <p:nvPr/>
            </p:nvSpPr>
            <p:spPr>
              <a:xfrm>
                <a:off x="-1614110" y="2011693"/>
                <a:ext cx="1145550" cy="54002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700" dirty="0" smtClean="0"/>
                  <a:t>Образец сравнения</a:t>
                </a:r>
                <a:endParaRPr lang="ru-RU" sz="700" dirty="0"/>
              </a:p>
            </p:txBody>
          </p:sp>
        </p:grpSp>
      </p:grpSp>
      <p:pic>
        <p:nvPicPr>
          <p:cNvPr id="24" name="Рисунок 2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9544" y="1137386"/>
            <a:ext cx="2546596" cy="1995114"/>
          </a:xfrm>
          <a:prstGeom prst="rect">
            <a:avLst/>
          </a:prstGeom>
        </p:spPr>
      </p:pic>
      <p:grpSp>
        <p:nvGrpSpPr>
          <p:cNvPr id="25" name="Группа 24"/>
          <p:cNvGrpSpPr/>
          <p:nvPr/>
        </p:nvGrpSpPr>
        <p:grpSpPr>
          <a:xfrm>
            <a:off x="365115" y="2701930"/>
            <a:ext cx="3021686" cy="1757238"/>
            <a:chOff x="854007" y="2943157"/>
            <a:chExt cx="3306456" cy="1886915"/>
          </a:xfrm>
        </p:grpSpPr>
        <p:pic>
          <p:nvPicPr>
            <p:cNvPr id="26" name="Рисунок 2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4007" y="3015988"/>
              <a:ext cx="3198385" cy="1814084"/>
            </a:xfrm>
            <a:prstGeom prst="rect">
              <a:avLst/>
            </a:prstGeom>
            <a:ln>
              <a:solidFill>
                <a:srgbClr val="008C95"/>
              </a:solidFill>
            </a:ln>
          </p:spPr>
        </p:pic>
        <p:sp>
          <p:nvSpPr>
            <p:cNvPr id="27" name="TextBox 26"/>
            <p:cNvSpPr txBox="1"/>
            <p:nvPr/>
          </p:nvSpPr>
          <p:spPr>
            <a:xfrm>
              <a:off x="1658777" y="2943157"/>
              <a:ext cx="514751" cy="26439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000" dirty="0" err="1" smtClean="0"/>
                <a:t>Tpc</a:t>
              </a:r>
              <a:endParaRPr lang="ru-RU" sz="1000" dirty="0"/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2369867" y="3585740"/>
              <a:ext cx="869149" cy="200055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ru-RU" sz="700" dirty="0" smtClean="0"/>
                <a:t>Кристаллизация</a:t>
              </a:r>
              <a:endParaRPr lang="ru-RU" sz="700" dirty="0"/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2415323" y="4326006"/>
              <a:ext cx="651140" cy="200055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ru-RU" sz="700" dirty="0" smtClean="0"/>
                <a:t>Плавление</a:t>
              </a:r>
              <a:endParaRPr lang="ru-RU" sz="700" dirty="0"/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1598193" y="3594448"/>
              <a:ext cx="292232" cy="282377"/>
            </a:xfrm>
            <a:prstGeom prst="rect">
              <a:avLst/>
            </a:prstGeom>
            <a:ln>
              <a:noFill/>
            </a:ln>
          </p:spPr>
          <p:txBody>
            <a:bodyPr wrap="none">
              <a:spAutoFit/>
            </a:bodyPr>
            <a:lstStyle/>
            <a:p>
              <a:r>
                <a:rPr lang="ru-RU" sz="1000" dirty="0"/>
                <a:t>∆</a:t>
              </a:r>
              <a:r>
                <a:rPr lang="en-US" sz="1000" dirty="0" err="1"/>
                <a:t>H</a:t>
              </a:r>
              <a:r>
                <a:rPr lang="en-US" sz="1000" baseline="-25000" dirty="0" err="1"/>
                <a:t>c</a:t>
              </a:r>
              <a:endParaRPr lang="ru-RU" sz="1000" dirty="0"/>
            </a:p>
          </p:txBody>
        </p:sp>
        <p:cxnSp>
          <p:nvCxnSpPr>
            <p:cNvPr id="33" name="Прямая соединительная линия 32"/>
            <p:cNvCxnSpPr/>
            <p:nvPr/>
          </p:nvCxnSpPr>
          <p:spPr bwMode="auto">
            <a:xfrm flipH="1" flipV="1">
              <a:off x="1932818" y="3785795"/>
              <a:ext cx="258036" cy="137235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4" name="TextBox 33"/>
            <p:cNvSpPr txBox="1"/>
            <p:nvPr/>
          </p:nvSpPr>
          <p:spPr>
            <a:xfrm>
              <a:off x="3677742" y="4292289"/>
              <a:ext cx="482721" cy="264391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n-US" sz="1000" dirty="0" err="1" smtClean="0"/>
                <a:t>Tpm</a:t>
              </a:r>
              <a:endParaRPr lang="ru-RU" sz="1000" dirty="0"/>
            </a:p>
          </p:txBody>
        </p:sp>
        <p:cxnSp>
          <p:nvCxnSpPr>
            <p:cNvPr id="35" name="Прямая соединительная линия 34"/>
            <p:cNvCxnSpPr/>
            <p:nvPr/>
          </p:nvCxnSpPr>
          <p:spPr bwMode="auto">
            <a:xfrm flipV="1">
              <a:off x="3515396" y="4463896"/>
              <a:ext cx="222216" cy="128562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6" name="Прямоугольник 35"/>
            <p:cNvSpPr/>
            <p:nvPr/>
          </p:nvSpPr>
          <p:spPr>
            <a:xfrm>
              <a:off x="3558618" y="4027424"/>
              <a:ext cx="509372" cy="264391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r>
                <a:rPr lang="ru-RU" sz="1000" dirty="0" smtClean="0"/>
                <a:t>∆</a:t>
              </a:r>
              <a:r>
                <a:rPr lang="en-US" sz="1000" dirty="0" err="1" smtClean="0"/>
                <a:t>Hf</a:t>
              </a:r>
              <a:endParaRPr lang="ru-RU" sz="1000" baseline="-25000" dirty="0"/>
            </a:p>
          </p:txBody>
        </p:sp>
        <p:cxnSp>
          <p:nvCxnSpPr>
            <p:cNvPr id="37" name="Прямая соединительная линия 36"/>
            <p:cNvCxnSpPr/>
            <p:nvPr/>
          </p:nvCxnSpPr>
          <p:spPr bwMode="auto">
            <a:xfrm flipV="1">
              <a:off x="3402404" y="4207238"/>
              <a:ext cx="226184" cy="170103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Прямая соединительная линия 37"/>
            <p:cNvCxnSpPr/>
            <p:nvPr/>
          </p:nvCxnSpPr>
          <p:spPr bwMode="auto">
            <a:xfrm flipH="1" flipV="1">
              <a:off x="1934583" y="3116363"/>
              <a:ext cx="238945" cy="144935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9" name="Группа 38"/>
          <p:cNvGrpSpPr>
            <a:grpSpLocks noChangeAspect="1"/>
          </p:cNvGrpSpPr>
          <p:nvPr/>
        </p:nvGrpSpPr>
        <p:grpSpPr>
          <a:xfrm>
            <a:off x="3329662" y="2769421"/>
            <a:ext cx="2888295" cy="1686813"/>
            <a:chOff x="611560" y="2903852"/>
            <a:chExt cx="3096344" cy="1786616"/>
          </a:xfrm>
        </p:grpSpPr>
        <p:pic>
          <p:nvPicPr>
            <p:cNvPr id="40" name="Рисунок 39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1560" y="2903852"/>
              <a:ext cx="3096344" cy="1786616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sp>
          <p:nvSpPr>
            <p:cNvPr id="41" name="TextBox 40"/>
            <p:cNvSpPr txBox="1"/>
            <p:nvPr/>
          </p:nvSpPr>
          <p:spPr>
            <a:xfrm>
              <a:off x="3018303" y="3817612"/>
              <a:ext cx="430682" cy="26395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000" dirty="0" smtClean="0"/>
                <a:t>OIT</a:t>
              </a:r>
              <a:endParaRPr lang="ru-RU" sz="1000" dirty="0"/>
            </a:p>
          </p:txBody>
        </p:sp>
        <p:cxnSp>
          <p:nvCxnSpPr>
            <p:cNvPr id="42" name="Прямая со стрелкой 41"/>
            <p:cNvCxnSpPr>
              <a:stCxn id="41" idx="2"/>
            </p:cNvCxnSpPr>
            <p:nvPr/>
          </p:nvCxnSpPr>
          <p:spPr bwMode="auto">
            <a:xfrm flipH="1">
              <a:off x="3072139" y="4081569"/>
              <a:ext cx="161506" cy="283669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Прямая со стрелкой 42"/>
            <p:cNvCxnSpPr>
              <a:stCxn id="41" idx="2"/>
            </p:cNvCxnSpPr>
            <p:nvPr/>
          </p:nvCxnSpPr>
          <p:spPr bwMode="auto">
            <a:xfrm>
              <a:off x="3233645" y="4081569"/>
              <a:ext cx="107670" cy="286557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2" name="Прямоугольник 21"/>
          <p:cNvSpPr/>
          <p:nvPr/>
        </p:nvSpPr>
        <p:spPr>
          <a:xfrm>
            <a:off x="6235514" y="3075427"/>
            <a:ext cx="2560258" cy="394414"/>
          </a:xfrm>
          <a:prstGeom prst="rect">
            <a:avLst/>
          </a:prstGeom>
        </p:spPr>
        <p:txBody>
          <a:bodyPr wrap="square" lIns="77925" tIns="38963" rIns="77925" bIns="38963">
            <a:spAutoFit/>
          </a:bodyPr>
          <a:lstStyle/>
          <a:p>
            <a:pPr algn="ctr">
              <a:lnSpc>
                <a:spcPct val="114000"/>
              </a:lnSpc>
            </a:pPr>
            <a:r>
              <a:rPr lang="ru-RU" sz="900" dirty="0" smtClean="0"/>
              <a:t>Дифференциальный сканирующий калориметр</a:t>
            </a:r>
            <a:endParaRPr lang="en-US" sz="900" dirty="0" smtClean="0"/>
          </a:p>
        </p:txBody>
      </p:sp>
    </p:spTree>
    <p:extLst>
      <p:ext uri="{BB962C8B-B14F-4D97-AF65-F5344CB8AC3E}">
        <p14:creationId xmlns:p14="http://schemas.microsoft.com/office/powerpoint/2010/main" val="2249137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Объект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933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7" name="Объект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Номер слайда 2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44" name="Прямоугольник 43"/>
          <p:cNvSpPr/>
          <p:nvPr/>
        </p:nvSpPr>
        <p:spPr>
          <a:xfrm>
            <a:off x="366032" y="3626290"/>
            <a:ext cx="8873074" cy="925073"/>
          </a:xfrm>
          <a:prstGeom prst="rect">
            <a:avLst/>
          </a:prstGeom>
        </p:spPr>
        <p:txBody>
          <a:bodyPr wrap="square" lIns="77925" tIns="38963" rIns="77925" bIns="38963">
            <a:spAutoFit/>
          </a:bodyPr>
          <a:lstStyle/>
          <a:p>
            <a:r>
              <a:rPr lang="ru-RU" sz="1100" b="1" dirty="0" smtClean="0"/>
              <a:t>Факторы</a:t>
            </a:r>
            <a:r>
              <a:rPr lang="ru-RU" sz="1100" b="1" dirty="0"/>
              <a:t>, влияющие на результаты </a:t>
            </a:r>
            <a:r>
              <a:rPr lang="ru-RU" sz="1100" b="1" dirty="0" smtClean="0"/>
              <a:t>измерений 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100" dirty="0">
                <a:solidFill>
                  <a:schemeClr val="accent1">
                    <a:lumMod val="75000"/>
                  </a:schemeClr>
                </a:solidFill>
                <a:sym typeface="Wingdings"/>
              </a:rPr>
              <a:t>В</a:t>
            </a:r>
            <a:r>
              <a:rPr lang="ru-RU" sz="1100" dirty="0" smtClean="0">
                <a:solidFill>
                  <a:schemeClr val="accent1">
                    <a:lumMod val="75000"/>
                  </a:schemeClr>
                </a:solidFill>
                <a:sym typeface="Wingdings"/>
              </a:rPr>
              <a:t>звешивание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100" dirty="0" smtClean="0">
                <a:solidFill>
                  <a:schemeClr val="accent1">
                    <a:lumMod val="75000"/>
                  </a:schemeClr>
                </a:solidFill>
                <a:sym typeface="Wingdings"/>
              </a:rPr>
              <a:t>Загрязнение образца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100" dirty="0">
                <a:solidFill>
                  <a:schemeClr val="accent1">
                    <a:lumMod val="75000"/>
                  </a:schemeClr>
                </a:solidFill>
                <a:sym typeface="Wingdings"/>
              </a:rPr>
              <a:t>Расположение образца в тигле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100" dirty="0" smtClean="0">
                <a:solidFill>
                  <a:schemeClr val="accent1">
                    <a:lumMod val="75000"/>
                  </a:schemeClr>
                </a:solidFill>
                <a:sym typeface="Wingdings"/>
              </a:rPr>
              <a:t>Скорость </a:t>
            </a:r>
            <a:r>
              <a:rPr lang="ru-RU" sz="1100" dirty="0" smtClean="0">
                <a:solidFill>
                  <a:schemeClr val="accent1">
                    <a:lumMod val="75000"/>
                  </a:schemeClr>
                </a:solidFill>
                <a:sym typeface="Wingdings"/>
              </a:rPr>
              <a:t>нагрева</a:t>
            </a:r>
            <a:r>
              <a:rPr lang="en-US" sz="1100" dirty="0" smtClean="0">
                <a:solidFill>
                  <a:schemeClr val="accent1">
                    <a:lumMod val="75000"/>
                  </a:schemeClr>
                </a:solidFill>
                <a:sym typeface="Wingdings"/>
              </a:rPr>
              <a:t>/</a:t>
            </a:r>
            <a:r>
              <a:rPr lang="ru-RU" sz="1100" dirty="0" smtClean="0">
                <a:solidFill>
                  <a:schemeClr val="accent1">
                    <a:lumMod val="75000"/>
                  </a:schemeClr>
                </a:solidFill>
                <a:sym typeface="Wingdings"/>
              </a:rPr>
              <a:t>охлаждения</a:t>
            </a:r>
            <a:endParaRPr lang="ru-RU" sz="1100" dirty="0">
              <a:sym typeface="Wingdings"/>
            </a:endParaRPr>
          </a:p>
        </p:txBody>
      </p:sp>
      <p:graphicFrame>
        <p:nvGraphicFramePr>
          <p:cNvPr id="45" name="Таблица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889182"/>
              </p:ext>
            </p:extLst>
          </p:nvPr>
        </p:nvGraphicFramePr>
        <p:xfrm>
          <a:off x="358775" y="1248179"/>
          <a:ext cx="8580008" cy="216992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834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909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4940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561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35373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+mn-lt"/>
                        </a:rPr>
                        <a:t>Параметр сравнения</a:t>
                      </a:r>
                      <a:r>
                        <a:rPr lang="ru-RU" sz="1000" dirty="0">
                          <a:effectLst/>
                          <a:latin typeface="+mn-lt"/>
                        </a:rPr>
                        <a:t> </a:t>
                      </a:r>
                      <a:endParaRPr lang="ru-RU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+mn-lt"/>
                        </a:rPr>
                        <a:t>ГОСТ Р 56724-2015</a:t>
                      </a:r>
                      <a:endParaRPr lang="ru-RU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+mn-lt"/>
                        </a:rPr>
                        <a:t>ISO </a:t>
                      </a:r>
                      <a:r>
                        <a:rPr lang="ru-RU" sz="1000" dirty="0" smtClean="0">
                          <a:effectLst/>
                          <a:latin typeface="+mn-lt"/>
                        </a:rPr>
                        <a:t>11357-3-2018</a:t>
                      </a:r>
                      <a:endParaRPr lang="ru-RU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+mn-lt"/>
                        </a:rPr>
                        <a:t>ASTM </a:t>
                      </a:r>
                      <a:r>
                        <a:rPr lang="en-US" sz="1000" dirty="0" smtClean="0">
                          <a:effectLst/>
                          <a:latin typeface="+mn-lt"/>
                        </a:rPr>
                        <a:t>D</a:t>
                      </a:r>
                      <a:r>
                        <a:rPr lang="ru-RU" sz="1000" dirty="0" smtClean="0">
                          <a:effectLst/>
                          <a:latin typeface="+mn-lt"/>
                        </a:rPr>
                        <a:t>3418-2021</a:t>
                      </a:r>
                      <a:endParaRPr lang="ru-RU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773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</a:rPr>
                        <a:t>Масса образца, мг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</a:rPr>
                        <a:t>от </a:t>
                      </a:r>
                      <a:r>
                        <a:rPr lang="en-US" sz="900" dirty="0" smtClean="0">
                          <a:effectLst/>
                          <a:latin typeface="+mn-lt"/>
                        </a:rPr>
                        <a:t>5</a:t>
                      </a:r>
                      <a:r>
                        <a:rPr lang="ru-RU" sz="900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ru-RU" sz="900" dirty="0">
                          <a:effectLst/>
                          <a:latin typeface="+mn-lt"/>
                        </a:rPr>
                        <a:t>до </a:t>
                      </a:r>
                      <a:r>
                        <a:rPr lang="en-US" sz="900" dirty="0" smtClean="0">
                          <a:effectLst/>
                          <a:latin typeface="+mn-lt"/>
                        </a:rPr>
                        <a:t>20</a:t>
                      </a:r>
                      <a:endParaRPr lang="ru-RU" sz="900" dirty="0">
                        <a:effectLst/>
                        <a:latin typeface="+mn-lt"/>
                      </a:endParaRPr>
                    </a:p>
                  </a:txBody>
                  <a:tcPr marL="33231" marR="3323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</a:rPr>
                        <a:t>от 5 </a:t>
                      </a:r>
                      <a:r>
                        <a:rPr lang="ru-RU" sz="900" dirty="0">
                          <a:effectLst/>
                          <a:latin typeface="+mn-lt"/>
                        </a:rPr>
                        <a:t>до </a:t>
                      </a:r>
                      <a:r>
                        <a:rPr lang="ru-RU" sz="900" dirty="0" smtClean="0">
                          <a:effectLst/>
                          <a:latin typeface="+mn-lt"/>
                        </a:rPr>
                        <a:t>10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</a:rPr>
                        <a:t>(предпочтительно)</a:t>
                      </a:r>
                    </a:p>
                  </a:txBody>
                  <a:tcPr marL="33231" marR="3323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</a:rPr>
                        <a:t>5</a:t>
                      </a:r>
                      <a:endParaRPr lang="ru-RU" sz="900" dirty="0">
                        <a:effectLst/>
                        <a:latin typeface="+mn-lt"/>
                      </a:endParaRPr>
                    </a:p>
                  </a:txBody>
                  <a:tcPr marL="33231" marR="33231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228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</a:rPr>
                        <a:t>Условия</a:t>
                      </a:r>
                      <a:r>
                        <a:rPr lang="ru-RU" sz="900" baseline="0" dirty="0" smtClean="0">
                          <a:effectLst/>
                          <a:latin typeface="+mn-lt"/>
                        </a:rPr>
                        <a:t> нагрева/охлаждения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1 и 2-й нагрев до температуры</a:t>
                      </a: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 на </a:t>
                      </a: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30 ⁰С выше экстраполированной</a:t>
                      </a: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 температуры плавления</a:t>
                      </a:r>
                      <a:endParaRPr lang="ru-RU" sz="9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Охлаждение</a:t>
                      </a:r>
                      <a:r>
                        <a:rPr lang="en-US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до температуры, приблизительно на </a:t>
                      </a: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50 ⁰С ниже</a:t>
                      </a: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экстраполированной</a:t>
                      </a: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 температуры кристаллизации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016">
                <a:tc>
                  <a:txBody>
                    <a:bodyPr/>
                    <a:lstStyle/>
                    <a:p>
                      <a:pPr marL="0" algn="l" defTabSz="779021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корость нагрева</a:t>
                      </a:r>
                      <a:r>
                        <a:rPr lang="en-US" sz="9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хлаждения, </a:t>
                      </a: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⁰С</a:t>
                      </a:r>
                      <a:r>
                        <a:rPr lang="en-US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/</a:t>
                      </a: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мин</a:t>
                      </a: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endParaRPr lang="ru-RU" sz="9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231" marR="33231" marT="0" marB="0" anchor="ctr"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10</a:t>
                      </a: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 либо 2</a:t>
                      </a: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0</a:t>
                      </a:r>
                    </a:p>
                  </a:txBody>
                  <a:tcPr marL="33231" marR="33231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6369339"/>
                  </a:ext>
                </a:extLst>
              </a:tr>
              <a:tr h="276016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</a:rPr>
                        <a:t>Количество</a:t>
                      </a:r>
                      <a:r>
                        <a:rPr lang="ru-RU" sz="900" baseline="0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ru-RU" sz="900" dirty="0" smtClean="0">
                          <a:effectLst/>
                          <a:latin typeface="+mn-lt"/>
                        </a:rPr>
                        <a:t>параллельных</a:t>
                      </a:r>
                      <a:r>
                        <a:rPr lang="ru-RU" sz="900" baseline="0" dirty="0" smtClean="0">
                          <a:effectLst/>
                          <a:latin typeface="+mn-lt"/>
                        </a:rPr>
                        <a:t> испытаний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</a:rPr>
                        <a:t>не регламентируется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ru-RU" sz="900" dirty="0">
                        <a:latin typeface="+mn-lt"/>
                      </a:endParaRPr>
                    </a:p>
                  </a:txBody>
                  <a:tcPr marL="33231" marR="33231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2721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</a:rPr>
                        <a:t>Точность</a:t>
                      </a:r>
                      <a:r>
                        <a:rPr lang="ru-RU" sz="900" baseline="0" dirty="0" smtClean="0">
                          <a:effectLst/>
                          <a:latin typeface="+mn-lt"/>
                        </a:rPr>
                        <a:t> выдаваемого р</a:t>
                      </a:r>
                      <a:r>
                        <a:rPr lang="ru-RU" sz="900" dirty="0" smtClean="0">
                          <a:effectLst/>
                          <a:latin typeface="+mn-lt"/>
                        </a:rPr>
                        <a:t>езультата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Calibri" panose="020F0502020204030204" pitchFamily="34" charset="0"/>
                        </a:rPr>
                        <a:t>Характеристические</a:t>
                      </a: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Calibri" panose="020F0502020204030204" pitchFamily="34" charset="0"/>
                        </a:rPr>
                        <a:t> т</a:t>
                      </a: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Calibri" panose="020F0502020204030204" pitchFamily="34" charset="0"/>
                        </a:rPr>
                        <a:t>емпературы,</a:t>
                      </a: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Calibri" panose="020F0502020204030204" pitchFamily="34" charset="0"/>
                        </a:rPr>
                        <a:t> округленные </a:t>
                      </a: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Calibri" panose="020F0502020204030204" pitchFamily="34" charset="0"/>
                        </a:rPr>
                        <a:t>до</a:t>
                      </a: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Calibri" panose="020F0502020204030204" pitchFamily="34" charset="0"/>
                        </a:rPr>
                        <a:t> целого числа</a:t>
                      </a:r>
                    </a:p>
                    <a:p>
                      <a:pPr marL="0" marR="0" lvl="0" indent="0" algn="ctr" defTabSz="778759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Calibri" panose="020F0502020204030204" pitchFamily="34" charset="0"/>
                        </a:rPr>
                        <a:t>Изменение энтальпии – </a:t>
                      </a:r>
                      <a:r>
                        <a:rPr lang="ru-RU" sz="900" dirty="0" smtClean="0">
                          <a:effectLst/>
                          <a:latin typeface="+mn-lt"/>
                          <a:cs typeface="Calibri" panose="020F0502020204030204" pitchFamily="34" charset="0"/>
                        </a:rPr>
                        <a:t>до первого</a:t>
                      </a:r>
                      <a:r>
                        <a:rPr lang="ru-RU" sz="900" baseline="0" dirty="0" smtClean="0">
                          <a:effectLst/>
                          <a:latin typeface="+mn-lt"/>
                          <a:cs typeface="Calibri" panose="020F0502020204030204" pitchFamily="34" charset="0"/>
                        </a:rPr>
                        <a:t> десятичного знака</a:t>
                      </a:r>
                      <a:endParaRPr lang="ru-RU" sz="900" dirty="0" smtClean="0">
                        <a:effectLst/>
                        <a:latin typeface="+mn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33231" marR="33231" marT="0" marB="0" anchor="ctr"/>
                </a:tc>
                <a:tc gridSpan="2">
                  <a:txBody>
                    <a:bodyPr/>
                    <a:lstStyle/>
                    <a:p>
                      <a:pPr marL="0" marR="0" lvl="0" indent="0" algn="ctr" defTabSz="778759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Calibri" panose="020F0502020204030204" pitchFamily="34" charset="0"/>
                        </a:rPr>
                        <a:t>Характеристические</a:t>
                      </a: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Calibri" panose="020F0502020204030204" pitchFamily="34" charset="0"/>
                        </a:rPr>
                        <a:t> т</a:t>
                      </a: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Calibri" panose="020F0502020204030204" pitchFamily="34" charset="0"/>
                        </a:rPr>
                        <a:t>емпературы и</a:t>
                      </a: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Calibri" panose="020F0502020204030204" pitchFamily="34" charset="0"/>
                        </a:rPr>
                        <a:t> изменение энтальпии д</a:t>
                      </a:r>
                      <a:r>
                        <a:rPr lang="ru-RU" sz="9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о первого</a:t>
                      </a:r>
                      <a:r>
                        <a:rPr lang="ru-RU" sz="9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 десятичного знака</a:t>
                      </a:r>
                      <a:endParaRPr lang="ru-RU" sz="9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33231" marR="33231" marT="0" marB="0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effectLst/>
                        <a:latin typeface="+mn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33231" marR="33231" marT="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46" name="Прямоугольник 45"/>
          <p:cNvSpPr/>
          <p:nvPr/>
        </p:nvSpPr>
        <p:spPr>
          <a:xfrm>
            <a:off x="361067" y="941906"/>
            <a:ext cx="8771450" cy="263353"/>
          </a:xfrm>
          <a:prstGeom prst="rect">
            <a:avLst/>
          </a:prstGeom>
        </p:spPr>
        <p:txBody>
          <a:bodyPr wrap="square" lIns="77925" tIns="38963" rIns="77925" bIns="38963">
            <a:spAutoFit/>
          </a:bodyPr>
          <a:lstStyle/>
          <a:p>
            <a:pPr lvl="0"/>
            <a:r>
              <a:rPr lang="ru-RU" sz="1200" b="1" dirty="0" smtClean="0">
                <a:solidFill>
                  <a:srgbClr val="003D4C"/>
                </a:solidFill>
              </a:rPr>
              <a:t>Ключевые отличия стандартов</a:t>
            </a:r>
            <a:endParaRPr lang="ru-RU" sz="1200" b="1" dirty="0">
              <a:solidFill>
                <a:srgbClr val="003D4C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366032" y="343631"/>
            <a:ext cx="8288457" cy="5372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fontAlgn="base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37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875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14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752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sz="1800" dirty="0"/>
              <a:t>Определение температуры </a:t>
            </a:r>
            <a:r>
              <a:rPr lang="ru-RU" sz="1800" dirty="0" smtClean="0"/>
              <a:t>плавления, кристаллизации</a:t>
            </a:r>
            <a:endParaRPr lang="ru-RU" sz="1800" dirty="0"/>
          </a:p>
          <a:p>
            <a:r>
              <a:rPr lang="ru-RU" sz="1800" dirty="0"/>
              <a:t>ГОСТ Р </a:t>
            </a:r>
            <a:r>
              <a:rPr lang="ru-RU" sz="1800" dirty="0" smtClean="0"/>
              <a:t>56724-2015, </a:t>
            </a:r>
            <a:r>
              <a:rPr lang="en-US" sz="1800" dirty="0"/>
              <a:t>ISO </a:t>
            </a:r>
            <a:r>
              <a:rPr lang="en-US" sz="1800" dirty="0" smtClean="0"/>
              <a:t>11357-3</a:t>
            </a:r>
            <a:r>
              <a:rPr lang="ru-RU" sz="1800" dirty="0" smtClean="0"/>
              <a:t>-2018</a:t>
            </a:r>
            <a:r>
              <a:rPr lang="en-US" sz="1800" dirty="0" smtClean="0"/>
              <a:t>, </a:t>
            </a:r>
            <a:r>
              <a:rPr lang="en-US" sz="1800" dirty="0"/>
              <a:t>ASTM D</a:t>
            </a:r>
            <a:r>
              <a:rPr lang="ru-RU" sz="1800" dirty="0" smtClean="0"/>
              <a:t>3418-2021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1970349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Объект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38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7" name="Объект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Номер слайда 2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44" name="Прямоугольник 43"/>
          <p:cNvSpPr/>
          <p:nvPr/>
        </p:nvSpPr>
        <p:spPr>
          <a:xfrm>
            <a:off x="310255" y="3952523"/>
            <a:ext cx="8873074" cy="586518"/>
          </a:xfrm>
          <a:prstGeom prst="rect">
            <a:avLst/>
          </a:prstGeom>
        </p:spPr>
        <p:txBody>
          <a:bodyPr wrap="square" lIns="77925" tIns="38963" rIns="77925" bIns="38963">
            <a:spAutoFit/>
          </a:bodyPr>
          <a:lstStyle/>
          <a:p>
            <a:r>
              <a:rPr lang="ru-RU" sz="1100" b="1" dirty="0" smtClean="0"/>
              <a:t>Факторы</a:t>
            </a:r>
            <a:r>
              <a:rPr lang="ru-RU" sz="1100" b="1" dirty="0"/>
              <a:t>, влияющие на результаты </a:t>
            </a:r>
            <a:r>
              <a:rPr lang="ru-RU" sz="1100" b="1" dirty="0" smtClean="0"/>
              <a:t>измерений 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100" dirty="0" smtClean="0">
                <a:solidFill>
                  <a:schemeClr val="accent1">
                    <a:lumMod val="75000"/>
                  </a:schemeClr>
                </a:solidFill>
                <a:sym typeface="Wingdings"/>
              </a:rPr>
              <a:t>Взвешивание	</a:t>
            </a:r>
            <a:r>
              <a:rPr lang="ru-RU" sz="1100" dirty="0">
                <a:solidFill>
                  <a:schemeClr val="accent1">
                    <a:lumMod val="75000"/>
                  </a:schemeClr>
                </a:solidFill>
                <a:sym typeface="Wingdings"/>
              </a:rPr>
              <a:t>	</a:t>
            </a:r>
            <a:r>
              <a:rPr lang="ru-RU" sz="1100" dirty="0">
                <a:solidFill>
                  <a:srgbClr val="008C95">
                    <a:lumMod val="75000"/>
                  </a:srgbClr>
                </a:solidFill>
                <a:sym typeface="Wingdings"/>
              </a:rPr>
              <a:t>  </a:t>
            </a:r>
            <a:r>
              <a:rPr lang="ru-RU" sz="1100" dirty="0" smtClean="0">
                <a:solidFill>
                  <a:schemeClr val="accent1">
                    <a:lumMod val="75000"/>
                  </a:schemeClr>
                </a:solidFill>
                <a:sym typeface="Wingdings"/>
              </a:rPr>
              <a:t>Расположение образца в тигле</a:t>
            </a:r>
            <a:endParaRPr lang="ru-RU" sz="1100" dirty="0" smtClean="0">
              <a:solidFill>
                <a:schemeClr val="accent1">
                  <a:lumMod val="75000"/>
                </a:schemeClr>
              </a:solidFill>
              <a:sym typeface="Wingdings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100" dirty="0" smtClean="0">
                <a:solidFill>
                  <a:schemeClr val="accent1">
                    <a:lumMod val="75000"/>
                  </a:schemeClr>
                </a:solidFill>
                <a:sym typeface="Wingdings"/>
              </a:rPr>
              <a:t>Загрязнение образца 	 </a:t>
            </a:r>
            <a:r>
              <a:rPr lang="ru-RU" sz="1100" dirty="0" smtClean="0">
                <a:solidFill>
                  <a:srgbClr val="008C95">
                    <a:lumMod val="75000"/>
                  </a:srgbClr>
                </a:solidFill>
                <a:sym typeface="Wingdings"/>
              </a:rPr>
              <a:t></a:t>
            </a:r>
            <a:r>
              <a:rPr lang="ru-RU" sz="1100" dirty="0" smtClean="0">
                <a:solidFill>
                  <a:schemeClr val="accent1">
                    <a:lumMod val="75000"/>
                  </a:schemeClr>
                </a:solidFill>
                <a:sym typeface="Wingdings"/>
              </a:rPr>
              <a:t> Скорость </a:t>
            </a:r>
            <a:r>
              <a:rPr lang="ru-RU" sz="1100" dirty="0">
                <a:solidFill>
                  <a:schemeClr val="accent1">
                    <a:lumMod val="75000"/>
                  </a:schemeClr>
                </a:solidFill>
                <a:sym typeface="Wingdings"/>
              </a:rPr>
              <a:t>нагрева</a:t>
            </a:r>
            <a:r>
              <a:rPr lang="en-US" sz="1100" dirty="0">
                <a:solidFill>
                  <a:schemeClr val="accent1">
                    <a:lumMod val="75000"/>
                  </a:schemeClr>
                </a:solidFill>
                <a:sym typeface="Wingdings"/>
              </a:rPr>
              <a:t>/</a:t>
            </a:r>
            <a:r>
              <a:rPr lang="ru-RU" sz="1100" dirty="0" smtClean="0">
                <a:solidFill>
                  <a:schemeClr val="accent1">
                    <a:lumMod val="75000"/>
                  </a:schemeClr>
                </a:solidFill>
                <a:sym typeface="Wingdings"/>
              </a:rPr>
              <a:t>охлаждения</a:t>
            </a:r>
            <a:endParaRPr lang="ru-RU" sz="1100" dirty="0">
              <a:sym typeface="Wingdings"/>
            </a:endParaRPr>
          </a:p>
        </p:txBody>
      </p:sp>
      <p:graphicFrame>
        <p:nvGraphicFramePr>
          <p:cNvPr id="45" name="Таблица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9693920"/>
              </p:ext>
            </p:extLst>
          </p:nvPr>
        </p:nvGraphicFramePr>
        <p:xfrm>
          <a:off x="358775" y="1205259"/>
          <a:ext cx="8585243" cy="255479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834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909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4940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6143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1504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+mn-lt"/>
                        </a:rPr>
                        <a:t>Параметр сравнения</a:t>
                      </a:r>
                      <a:r>
                        <a:rPr lang="ru-RU" sz="1000" dirty="0">
                          <a:effectLst/>
                          <a:latin typeface="+mn-lt"/>
                        </a:rPr>
                        <a:t> </a:t>
                      </a:r>
                      <a:endParaRPr lang="ru-RU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+mn-lt"/>
                        </a:rPr>
                        <a:t>ГОСТ Р 55135-2012</a:t>
                      </a:r>
                      <a:endParaRPr lang="ru-RU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+mn-lt"/>
                        </a:rPr>
                        <a:t>ISO </a:t>
                      </a:r>
                      <a:r>
                        <a:rPr lang="ru-RU" sz="1000" dirty="0" smtClean="0">
                          <a:effectLst/>
                          <a:latin typeface="+mn-lt"/>
                        </a:rPr>
                        <a:t>11357-2-2020</a:t>
                      </a:r>
                      <a:endParaRPr lang="ru-RU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+mn-lt"/>
                        </a:rPr>
                        <a:t>ASTM </a:t>
                      </a:r>
                      <a:r>
                        <a:rPr lang="en-US" sz="1000" dirty="0" smtClean="0">
                          <a:effectLst/>
                          <a:latin typeface="+mn-lt"/>
                        </a:rPr>
                        <a:t>D</a:t>
                      </a:r>
                      <a:r>
                        <a:rPr lang="ru-RU" sz="1000" dirty="0" smtClean="0">
                          <a:effectLst/>
                          <a:latin typeface="+mn-lt"/>
                        </a:rPr>
                        <a:t>3418-2021</a:t>
                      </a:r>
                      <a:endParaRPr lang="ru-RU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758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</a:rPr>
                        <a:t>Масса образца, мг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</a:rPr>
                        <a:t>от 5 </a:t>
                      </a:r>
                      <a:r>
                        <a:rPr lang="ru-RU" sz="900" dirty="0">
                          <a:effectLst/>
                          <a:latin typeface="+mn-lt"/>
                        </a:rPr>
                        <a:t>до </a:t>
                      </a:r>
                      <a:r>
                        <a:rPr lang="ru-RU" sz="900" dirty="0" smtClean="0"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33231" marR="33231" marT="0" marB="0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dirty="0" smtClean="0">
                        <a:effectLst/>
                        <a:latin typeface="+mn-lt"/>
                      </a:endParaRPr>
                    </a:p>
                  </a:txBody>
                  <a:tcPr marL="33231" marR="3323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</a:rPr>
                        <a:t>10</a:t>
                      </a:r>
                      <a:endParaRPr lang="ru-RU" sz="900" dirty="0">
                        <a:effectLst/>
                        <a:latin typeface="+mn-lt"/>
                      </a:endParaRPr>
                    </a:p>
                  </a:txBody>
                  <a:tcPr marL="33231" marR="33231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9350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</a:rPr>
                        <a:t>Условия нагрева/охлаждения</a:t>
                      </a:r>
                    </a:p>
                  </a:txBody>
                  <a:tcPr marL="33231" marR="33231" marT="0" marB="0" anchor="ctr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1-й нагрев до температуры</a:t>
                      </a: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, достаточно высокой, чтобы аннулировать «тепловую предысторию»</a:t>
                      </a:r>
                      <a:endParaRPr lang="ru-RU" sz="9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Охлаждение</a:t>
                      </a:r>
                      <a:r>
                        <a:rPr lang="en-US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до температуры, как минимум на </a:t>
                      </a: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50 ⁰С ниже</a:t>
                      </a: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температуры стеклования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2-й</a:t>
                      </a: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 нагрев до температуры на </a:t>
                      </a: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30 ⁰С выше экстраполированной</a:t>
                      </a: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 температуры конца стеклования</a:t>
                      </a:r>
                      <a:endParaRPr lang="ru-RU" sz="9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1-й нагрев до температуры</a:t>
                      </a: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 на </a:t>
                      </a: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30 ⁰С выше экстраполированной</a:t>
                      </a: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 температуры плавления</a:t>
                      </a:r>
                      <a:endParaRPr lang="ru-RU" sz="9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Охлаждение</a:t>
                      </a:r>
                      <a:r>
                        <a:rPr lang="en-US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до температуры, как минимум на </a:t>
                      </a: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50 ⁰С ниже</a:t>
                      </a: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температуры стеклования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2-й</a:t>
                      </a: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 нагрев до тех пор, пока все требуемые переходы не будут зафиксированы</a:t>
                      </a:r>
                      <a:endParaRPr lang="ru-RU" sz="9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1388">
                <a:tc>
                  <a:txBody>
                    <a:bodyPr/>
                    <a:lstStyle/>
                    <a:p>
                      <a:pPr marL="0" algn="l" defTabSz="779021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корость нагрева, </a:t>
                      </a: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⁰С</a:t>
                      </a:r>
                      <a:r>
                        <a:rPr lang="en-US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/</a:t>
                      </a: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мин</a:t>
                      </a: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endParaRPr lang="ru-RU" sz="9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231" marR="33231" marT="0" marB="0" anchor="ctr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2</a:t>
                      </a: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0</a:t>
                      </a:r>
                    </a:p>
                  </a:txBody>
                  <a:tcPr marL="33231" marR="33231" marT="0" marB="0"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33231" marR="33231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20</a:t>
                      </a:r>
                    </a:p>
                    <a:p>
                      <a:pPr algn="ctr"/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(предпочтительно)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extLst>
                  <a:ext uri="{0D108BD9-81ED-4DB2-BD59-A6C34878D82A}">
                    <a16:rowId xmlns:a16="http://schemas.microsoft.com/office/drawing/2014/main" val="2916369339"/>
                  </a:ext>
                </a:extLst>
              </a:tr>
              <a:tr h="201878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</a:rPr>
                        <a:t>Количество</a:t>
                      </a:r>
                      <a:r>
                        <a:rPr lang="ru-RU" sz="900" baseline="0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ru-RU" sz="900" dirty="0" smtClean="0">
                          <a:effectLst/>
                          <a:latin typeface="+mn-lt"/>
                        </a:rPr>
                        <a:t>параллельных</a:t>
                      </a:r>
                      <a:r>
                        <a:rPr lang="ru-RU" sz="900" baseline="0" dirty="0" smtClean="0">
                          <a:effectLst/>
                          <a:latin typeface="+mn-lt"/>
                        </a:rPr>
                        <a:t> испытаний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</a:rPr>
                        <a:t>не регламентируется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ru-RU" sz="900" dirty="0">
                        <a:latin typeface="+mn-lt"/>
                      </a:endParaRPr>
                    </a:p>
                  </a:txBody>
                  <a:tcPr marL="33231" marR="33231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3993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</a:rPr>
                        <a:t>Точность</a:t>
                      </a:r>
                      <a:r>
                        <a:rPr lang="ru-RU" sz="900" baseline="0" dirty="0" smtClean="0">
                          <a:effectLst/>
                          <a:latin typeface="+mn-lt"/>
                        </a:rPr>
                        <a:t> выдаваемого р</a:t>
                      </a:r>
                      <a:r>
                        <a:rPr lang="ru-RU" sz="900" dirty="0" smtClean="0">
                          <a:effectLst/>
                          <a:latin typeface="+mn-lt"/>
                        </a:rPr>
                        <a:t>езультата</a:t>
                      </a:r>
                      <a:endParaRPr lang="ru-RU" sz="9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3231" marR="3323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Calibri" panose="020F0502020204030204" pitchFamily="34" charset="0"/>
                        </a:rPr>
                        <a:t>Характеристические</a:t>
                      </a: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Calibri" panose="020F0502020204030204" pitchFamily="34" charset="0"/>
                        </a:rPr>
                        <a:t> т</a:t>
                      </a: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Calibri" panose="020F0502020204030204" pitchFamily="34" charset="0"/>
                        </a:rPr>
                        <a:t>емпературы стеклования,</a:t>
                      </a: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Calibri" panose="020F0502020204030204" pitchFamily="34" charset="0"/>
                        </a:rPr>
                        <a:t> округленные до целого</a:t>
                      </a:r>
                      <a:endParaRPr lang="ru-RU" sz="900" dirty="0" smtClean="0">
                        <a:effectLst/>
                        <a:latin typeface="+mn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33231" marR="33231" marT="0" marB="0" anchor="ctr"/>
                </a:tc>
                <a:tc gridSpan="2"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Calibri" panose="020F0502020204030204" pitchFamily="34" charset="0"/>
                        </a:rPr>
                        <a:t>Характеристические</a:t>
                      </a: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Calibri" panose="020F0502020204030204" pitchFamily="34" charset="0"/>
                        </a:rPr>
                        <a:t> т</a:t>
                      </a:r>
                      <a:r>
                        <a:rPr lang="ru-RU" sz="900" dirty="0" smtClean="0">
                          <a:effectLst/>
                          <a:latin typeface="+mn-lt"/>
                          <a:ea typeface="Calibri"/>
                          <a:cs typeface="Calibri" panose="020F0502020204030204" pitchFamily="34" charset="0"/>
                        </a:rPr>
                        <a:t>емпературы стеклования </a:t>
                      </a:r>
                      <a:r>
                        <a:rPr lang="ru-RU" sz="900" baseline="0" dirty="0" smtClean="0">
                          <a:effectLst/>
                          <a:latin typeface="+mn-lt"/>
                          <a:ea typeface="Calibri"/>
                          <a:cs typeface="Calibri" panose="020F0502020204030204" pitchFamily="34" charset="0"/>
                        </a:rPr>
                        <a:t>д</a:t>
                      </a:r>
                      <a:r>
                        <a:rPr lang="ru-RU" sz="9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о первого</a:t>
                      </a:r>
                      <a:r>
                        <a:rPr lang="ru-RU" sz="9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 десятичного знака</a:t>
                      </a:r>
                      <a:endParaRPr lang="ru-RU" sz="9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33231" marR="33231" marT="0" marB="0"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33231" marR="33231" marT="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46" name="Прямоугольник 45"/>
          <p:cNvSpPr/>
          <p:nvPr/>
        </p:nvSpPr>
        <p:spPr>
          <a:xfrm>
            <a:off x="361067" y="941906"/>
            <a:ext cx="8771450" cy="263353"/>
          </a:xfrm>
          <a:prstGeom prst="rect">
            <a:avLst/>
          </a:prstGeom>
        </p:spPr>
        <p:txBody>
          <a:bodyPr wrap="square" lIns="77925" tIns="38963" rIns="77925" bIns="38963">
            <a:spAutoFit/>
          </a:bodyPr>
          <a:lstStyle/>
          <a:p>
            <a:pPr lvl="0"/>
            <a:r>
              <a:rPr lang="ru-RU" sz="1200" b="1" dirty="0" smtClean="0">
                <a:solidFill>
                  <a:srgbClr val="003D4C"/>
                </a:solidFill>
              </a:rPr>
              <a:t>Ключевые отличия стандартов</a:t>
            </a:r>
            <a:endParaRPr lang="ru-RU" sz="1200" b="1" dirty="0">
              <a:solidFill>
                <a:srgbClr val="003D4C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366032" y="343631"/>
            <a:ext cx="8288457" cy="5372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fontAlgn="base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37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875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14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752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sz="1800" dirty="0"/>
              <a:t>Определение температуры </a:t>
            </a:r>
            <a:r>
              <a:rPr lang="ru-RU" sz="1800" dirty="0" smtClean="0"/>
              <a:t>стеклования</a:t>
            </a:r>
            <a:endParaRPr lang="ru-RU" sz="1800" dirty="0"/>
          </a:p>
          <a:p>
            <a:r>
              <a:rPr lang="ru-RU" sz="1800" dirty="0"/>
              <a:t>ГОСТ Р </a:t>
            </a:r>
            <a:r>
              <a:rPr lang="ru-RU" sz="1800" dirty="0" smtClean="0"/>
              <a:t>55135-2012, </a:t>
            </a:r>
            <a:r>
              <a:rPr lang="en-US" sz="1800" dirty="0"/>
              <a:t>ISO </a:t>
            </a:r>
            <a:r>
              <a:rPr lang="en-US" sz="1800" dirty="0" smtClean="0"/>
              <a:t>11357-</a:t>
            </a:r>
            <a:r>
              <a:rPr lang="ru-RU" sz="1800" dirty="0" smtClean="0"/>
              <a:t>2-2020</a:t>
            </a:r>
            <a:r>
              <a:rPr lang="en-US" sz="1800" dirty="0" smtClean="0"/>
              <a:t>, </a:t>
            </a:r>
            <a:r>
              <a:rPr lang="en-US" sz="1800" dirty="0"/>
              <a:t>ASTM D</a:t>
            </a:r>
            <a:r>
              <a:rPr lang="ru-RU" sz="1800" dirty="0" smtClean="0"/>
              <a:t>3418-2021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541258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итульные слайд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Другая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2.xml><?xml version="1.0" encoding="utf-8"?>
<a:theme xmlns:a="http://schemas.openxmlformats.org/drawingml/2006/main" name="Коллажи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3.xml><?xml version="1.0" encoding="utf-8"?>
<a:theme xmlns:a="http://schemas.openxmlformats.org/drawingml/2006/main" name="Базовые слайд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4.xml><?xml version="1.0" encoding="utf-8"?>
<a:theme xmlns:a="http://schemas.openxmlformats.org/drawingml/2006/main" name="Финальные слайд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5.xml><?xml version="1.0" encoding="utf-8"?>
<a:theme xmlns:a="http://schemas.openxmlformats.org/drawingml/2006/main" name="Буллит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Другая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6.xml><?xml version="1.0" encoding="utf-8"?>
<a:theme xmlns:a="http://schemas.openxmlformats.org/drawingml/2006/main" name="Таблиц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7.xml><?xml version="1.0" encoding="utf-8"?>
<a:theme xmlns:a="http://schemas.openxmlformats.org/drawingml/2006/main" name="Обложки разделов">
  <a:themeElements>
    <a:clrScheme name="Другая 1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16FAC3A0D30DAA42AF4EBACF79D57079" ma:contentTypeVersion="1" ma:contentTypeDescription="Создание документа." ma:contentTypeScope="" ma:versionID="5b038f186db50e1ddcdbacd989e9fd93">
  <xsd:schema xmlns:xsd="http://www.w3.org/2001/XMLSchema" xmlns:xs="http://www.w3.org/2001/XMLSchema" xmlns:p="http://schemas.microsoft.com/office/2006/metadata/properties" xmlns:ns2="7bda88f5-81ee-4ce0-acd0-0fc58edecc95" xmlns:ns3="9b0c9865-9e5f-4a19-8def-db8deaed8a57" targetNamespace="http://schemas.microsoft.com/office/2006/metadata/properties" ma:root="true" ma:fieldsID="6f43ea1788a8d090c714bc610b22df34" ns2:_="" ns3:_="">
    <xsd:import namespace="7bda88f5-81ee-4ce0-acd0-0fc58edecc95"/>
    <xsd:import namespace="9b0c9865-9e5f-4a19-8def-db8deaed8a57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_x041e__x043f__x0438__x0441__x0430__x043d__x0438__x0435_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da88f5-81ee-4ce0-acd0-0fc58edecc95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Сохранить идентификатор" ma:description="Сохранять идентификатор при добавлении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0c9865-9e5f-4a19-8def-db8deaed8a57" elementFormDefault="qualified">
    <xsd:import namespace="http://schemas.microsoft.com/office/2006/documentManagement/types"/>
    <xsd:import namespace="http://schemas.microsoft.com/office/infopath/2007/PartnerControls"/>
    <xsd:element name="_x041e__x043f__x0438__x0441__x0430__x043d__x0438__x0435_" ma:index="11" nillable="true" ma:displayName="Описание" ma:internalName="_x041e__x043f__x0438__x0441__x0430__x043d__x0438__x0435_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bda88f5-81ee-4ce0-acd0-0fc58edecc95">E76AX7DTSNFM-10-759</_dlc_DocId>
    <_dlc_DocIdUrl xmlns="7bda88f5-81ee-4ce0-acd0-0fc58edecc95">
      <Url>https://sharepoint/portals/template/_layouts/15/DocIdRedir.aspx?ID=E76AX7DTSNFM-10-759</Url>
      <Description>E76AX7DTSNFM-10-759</Description>
    </_dlc_DocIdUrl>
    <_x041e__x043f__x0438__x0441__x0430__x043d__x0438__x0435_ xmlns="9b0c9865-9e5f-4a19-8def-db8deaed8a57" xsi:nil="true"/>
  </documentManagement>
</p:properties>
</file>

<file path=customXml/itemProps1.xml><?xml version="1.0" encoding="utf-8"?>
<ds:datastoreItem xmlns:ds="http://schemas.openxmlformats.org/officeDocument/2006/customXml" ds:itemID="{92F92E0E-ED67-41DF-96C8-B1A6E4369BD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FC1EEFD-48C5-4F7B-8517-DBB3AEC775EE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72FFB9B5-4495-4C13-BA14-466E85A0B7E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bda88f5-81ee-4ce0-acd0-0fc58edecc95"/>
    <ds:schemaRef ds:uri="9b0c9865-9e5f-4a19-8def-db8deaed8a5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20A7FD75-1E90-43D2-ABF1-A6C12E8540AE}">
  <ds:schemaRefs>
    <ds:schemaRef ds:uri="http://purl.org/dc/terms/"/>
    <ds:schemaRef ds:uri="7bda88f5-81ee-4ce0-acd0-0fc58edecc95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9b0c9865-9e5f-4a19-8def-db8deaed8a57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bur-A4-horisontal</Template>
  <TotalTime>74475</TotalTime>
  <Words>2308</Words>
  <Application>Microsoft Office PowerPoint</Application>
  <PresentationFormat>Экран (16:9)</PresentationFormat>
  <Paragraphs>419</Paragraphs>
  <Slides>24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4</vt:i4>
      </vt:variant>
    </vt:vector>
  </HeadingPairs>
  <TitlesOfParts>
    <vt:vector size="37" baseType="lpstr">
      <vt:lpstr>Arial</vt:lpstr>
      <vt:lpstr>Calibri</vt:lpstr>
      <vt:lpstr>Cambria Math</vt:lpstr>
      <vt:lpstr>Times New Roman</vt:lpstr>
      <vt:lpstr>Wingdings</vt:lpstr>
      <vt:lpstr>Титульные слайды</vt:lpstr>
      <vt:lpstr>Коллажи</vt:lpstr>
      <vt:lpstr>Базовые слайды</vt:lpstr>
      <vt:lpstr>Финальные слайды</vt:lpstr>
      <vt:lpstr>Буллиты</vt:lpstr>
      <vt:lpstr>Таблицы</vt:lpstr>
      <vt:lpstr>Обложки разделов</vt:lpstr>
      <vt:lpstr>Слайд think-cell</vt:lpstr>
      <vt:lpstr>Основные различия между стандартами ГОСТ, ISO, ASTM при испытании пластмасс</vt:lpstr>
      <vt:lpstr>Презентация PowerPoint</vt:lpstr>
      <vt:lpstr>Презентация PowerPoint</vt:lpstr>
      <vt:lpstr>Презентация PowerPoint</vt:lpstr>
      <vt:lpstr>Презентация PowerPoint</vt:lpstr>
      <vt:lpstr>Термический анализ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Оптическая микроскопия</vt:lpstr>
      <vt:lpstr>Презентация PowerPoint</vt:lpstr>
      <vt:lpstr>Презентация PowerPoint</vt:lpstr>
      <vt:lpstr>Препаративные методы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Ждем Вас на страницах официальных аккаунтов СИБУР ПолиЛаб!</vt:lpstr>
      <vt:lpstr>Контактная информация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амойленко Наталья Владимировна</dc:creator>
  <cp:lastModifiedBy>Лукошко Елена Вадимовна</cp:lastModifiedBy>
  <cp:revision>2022</cp:revision>
  <dcterms:created xsi:type="dcterms:W3CDTF">2017-07-26T15:34:06Z</dcterms:created>
  <dcterms:modified xsi:type="dcterms:W3CDTF">2022-09-30T06:35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FAC3A0D30DAA42AF4EBACF79D57079</vt:lpwstr>
  </property>
  <property fmtid="{D5CDD505-2E9C-101B-9397-08002B2CF9AE}" pid="3" name="_dlc_DocIdItemGuid">
    <vt:lpwstr>08128e61-b529-4dc6-902a-2bae7e28187e</vt:lpwstr>
  </property>
</Properties>
</file>